
<file path=[Content_Types].xml><?xml version="1.0" encoding="utf-8"?>
<Types xmlns="http://schemas.openxmlformats.org/package/2006/content-types">
  <Default Extension="bin" ContentType="application/vnd.openxmlformats-officedocument.oleObject"/>
  <Default Extension="jfif" ContentType="image/jpeg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3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sldIdLst>
    <p:sldId id="256" r:id="rId2"/>
    <p:sldId id="257" r:id="rId3"/>
    <p:sldId id="259" r:id="rId4"/>
    <p:sldId id="258" r:id="rId5"/>
    <p:sldId id="260" r:id="rId6"/>
    <p:sldId id="267" r:id="rId7"/>
    <p:sldId id="268" r:id="rId8"/>
    <p:sldId id="269" r:id="rId9"/>
    <p:sldId id="270" r:id="rId10"/>
    <p:sldId id="271" r:id="rId11"/>
    <p:sldId id="272" r:id="rId12"/>
    <p:sldId id="273" r:id="rId13"/>
    <p:sldId id="261" r:id="rId14"/>
    <p:sldId id="275" r:id="rId15"/>
    <p:sldId id="274" r:id="rId16"/>
    <p:sldId id="279" r:id="rId17"/>
    <p:sldId id="280" r:id="rId18"/>
    <p:sldId id="281" r:id="rId19"/>
    <p:sldId id="282" r:id="rId20"/>
    <p:sldId id="262" r:id="rId21"/>
    <p:sldId id="276" r:id="rId22"/>
    <p:sldId id="277" r:id="rId23"/>
    <p:sldId id="278" r:id="rId24"/>
    <p:sldId id="265" r:id="rId25"/>
    <p:sldId id="266" r:id="rId26"/>
    <p:sldId id="264" r:id="rId27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EAD704B-3CC2-4D66-B693-7DCB9C26C438}" v="8019" dt="2019-07-15T11:46:28.8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86" autoAdjust="0"/>
    <p:restoredTop sz="91915" autoAdjust="0"/>
  </p:normalViewPr>
  <p:slideViewPr>
    <p:cSldViewPr snapToGrid="0">
      <p:cViewPr varScale="1">
        <p:scale>
          <a:sx n="58" d="100"/>
          <a:sy n="58" d="100"/>
        </p:scale>
        <p:origin x="86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spinall, Charlotte I." userId="cf7effac-2166-4f0e-a245-46f1973a953d" providerId="ADAL" clId="{CEAD704B-3CC2-4D66-B693-7DCB9C26C438}"/>
    <pc:docChg chg="undo redo custSel addSld delSld modSld sldOrd">
      <pc:chgData name="Aspinall, Charlotte I." userId="cf7effac-2166-4f0e-a245-46f1973a953d" providerId="ADAL" clId="{CEAD704B-3CC2-4D66-B693-7DCB9C26C438}" dt="2019-07-15T11:46:28.812" v="7976" actId="27636"/>
      <pc:docMkLst>
        <pc:docMk/>
      </pc:docMkLst>
      <pc:sldChg chg="modSp">
        <pc:chgData name="Aspinall, Charlotte I." userId="cf7effac-2166-4f0e-a245-46f1973a953d" providerId="ADAL" clId="{CEAD704B-3CC2-4D66-B693-7DCB9C26C438}" dt="2019-07-15T11:46:28.812" v="7976" actId="27636"/>
        <pc:sldMkLst>
          <pc:docMk/>
          <pc:sldMk cId="3863590145" sldId="260"/>
        </pc:sldMkLst>
        <pc:spChg chg="mod">
          <ac:chgData name="Aspinall, Charlotte I." userId="cf7effac-2166-4f0e-a245-46f1973a953d" providerId="ADAL" clId="{CEAD704B-3CC2-4D66-B693-7DCB9C26C438}" dt="2019-07-15T11:46:28.812" v="7976" actId="27636"/>
          <ac:spMkLst>
            <pc:docMk/>
            <pc:sldMk cId="3863590145" sldId="260"/>
            <ac:spMk id="3" creationId="{FB966D45-5E52-4A2F-9D15-79EBD3AB3874}"/>
          </ac:spMkLst>
        </pc:spChg>
      </pc:sldChg>
      <pc:sldChg chg="add del">
        <pc:chgData name="Aspinall, Charlotte I." userId="cf7effac-2166-4f0e-a245-46f1973a953d" providerId="ADAL" clId="{CEAD704B-3CC2-4D66-B693-7DCB9C26C438}" dt="2019-07-15T10:19:47.454" v="3778" actId="2696"/>
        <pc:sldMkLst>
          <pc:docMk/>
          <pc:sldMk cId="47351937" sldId="261"/>
        </pc:sldMkLst>
      </pc:sldChg>
      <pc:sldChg chg="modSp add ord">
        <pc:chgData name="Aspinall, Charlotte I." userId="cf7effac-2166-4f0e-a245-46f1973a953d" providerId="ADAL" clId="{CEAD704B-3CC2-4D66-B693-7DCB9C26C438}" dt="2019-07-15T10:46:02.445" v="5433" actId="20577"/>
        <pc:sldMkLst>
          <pc:docMk/>
          <pc:sldMk cId="115640250" sldId="261"/>
        </pc:sldMkLst>
        <pc:spChg chg="mod">
          <ac:chgData name="Aspinall, Charlotte I." userId="cf7effac-2166-4f0e-a245-46f1973a953d" providerId="ADAL" clId="{CEAD704B-3CC2-4D66-B693-7DCB9C26C438}" dt="2019-07-15T10:46:02.445" v="5433" actId="20577"/>
          <ac:spMkLst>
            <pc:docMk/>
            <pc:sldMk cId="115640250" sldId="261"/>
            <ac:spMk id="3" creationId="{163D7D8F-3804-4F0A-AFA0-164551470476}"/>
          </ac:spMkLst>
        </pc:spChg>
      </pc:sldChg>
      <pc:sldChg chg="addSp modSp del">
        <pc:chgData name="Aspinall, Charlotte I." userId="cf7effac-2166-4f0e-a245-46f1973a953d" providerId="ADAL" clId="{CEAD704B-3CC2-4D66-B693-7DCB9C26C438}" dt="2019-07-15T10:19:37.134" v="3775" actId="2696"/>
        <pc:sldMkLst>
          <pc:docMk/>
          <pc:sldMk cId="2422903432" sldId="261"/>
        </pc:sldMkLst>
        <pc:spChg chg="mod ord">
          <ac:chgData name="Aspinall, Charlotte I." userId="cf7effac-2166-4f0e-a245-46f1973a953d" providerId="ADAL" clId="{CEAD704B-3CC2-4D66-B693-7DCB9C26C438}" dt="2019-07-15T09:06:24.398" v="1611" actId="20577"/>
          <ac:spMkLst>
            <pc:docMk/>
            <pc:sldMk cId="2422903432" sldId="261"/>
            <ac:spMk id="2" creationId="{03078C2B-3497-4C2D-8D32-43051AB8AAB7}"/>
          </ac:spMkLst>
        </pc:spChg>
        <pc:spChg chg="mod ord">
          <ac:chgData name="Aspinall, Charlotte I." userId="cf7effac-2166-4f0e-a245-46f1973a953d" providerId="ADAL" clId="{CEAD704B-3CC2-4D66-B693-7DCB9C26C438}" dt="2019-07-15T09:06:28.956" v="1626" actId="20577"/>
          <ac:spMkLst>
            <pc:docMk/>
            <pc:sldMk cId="2422903432" sldId="261"/>
            <ac:spMk id="3" creationId="{163D7D8F-3804-4F0A-AFA0-164551470476}"/>
          </ac:spMkLst>
        </pc:spChg>
        <pc:spChg chg="add mod ord">
          <ac:chgData name="Aspinall, Charlotte I." userId="cf7effac-2166-4f0e-a245-46f1973a953d" providerId="ADAL" clId="{CEAD704B-3CC2-4D66-B693-7DCB9C26C438}" dt="2019-07-15T09:06:24.936" v="1623" actId="6549"/>
          <ac:spMkLst>
            <pc:docMk/>
            <pc:sldMk cId="2422903432" sldId="261"/>
            <ac:spMk id="5" creationId="{0F244A1B-A8D0-4568-A7A4-35A909A143D3}"/>
          </ac:spMkLst>
        </pc:spChg>
        <pc:graphicFrameChg chg="mod ord">
          <ac:chgData name="Aspinall, Charlotte I." userId="cf7effac-2166-4f0e-a245-46f1973a953d" providerId="ADAL" clId="{CEAD704B-3CC2-4D66-B693-7DCB9C26C438}" dt="2019-07-15T09:06:24.942" v="1625"/>
          <ac:graphicFrameMkLst>
            <pc:docMk/>
            <pc:sldMk cId="2422903432" sldId="261"/>
            <ac:graphicFrameMk id="4" creationId="{17752AD4-B6AE-48D8-8597-521DB5883DD6}"/>
          </ac:graphicFrameMkLst>
        </pc:graphicFrameChg>
      </pc:sldChg>
      <pc:sldChg chg="del">
        <pc:chgData name="Aspinall, Charlotte I." userId="cf7effac-2166-4f0e-a245-46f1973a953d" providerId="ADAL" clId="{CEAD704B-3CC2-4D66-B693-7DCB9C26C438}" dt="2019-07-15T10:19:37.164" v="3776" actId="2696"/>
        <pc:sldMkLst>
          <pc:docMk/>
          <pc:sldMk cId="778917040" sldId="262"/>
        </pc:sldMkLst>
      </pc:sldChg>
      <pc:sldChg chg="add del ord">
        <pc:chgData name="Aspinall, Charlotte I." userId="cf7effac-2166-4f0e-a245-46f1973a953d" providerId="ADAL" clId="{CEAD704B-3CC2-4D66-B693-7DCB9C26C438}" dt="2019-07-15T10:44:25.398" v="5426" actId="2696"/>
        <pc:sldMkLst>
          <pc:docMk/>
          <pc:sldMk cId="826603518" sldId="262"/>
        </pc:sldMkLst>
      </pc:sldChg>
      <pc:sldChg chg="add del">
        <pc:chgData name="Aspinall, Charlotte I." userId="cf7effac-2166-4f0e-a245-46f1973a953d" providerId="ADAL" clId="{CEAD704B-3CC2-4D66-B693-7DCB9C26C438}" dt="2019-07-15T10:19:47.479" v="3779" actId="2696"/>
        <pc:sldMkLst>
          <pc:docMk/>
          <pc:sldMk cId="3365576707" sldId="262"/>
        </pc:sldMkLst>
      </pc:sldChg>
      <pc:sldChg chg="add">
        <pc:chgData name="Aspinall, Charlotte I." userId="cf7effac-2166-4f0e-a245-46f1973a953d" providerId="ADAL" clId="{CEAD704B-3CC2-4D66-B693-7DCB9C26C438}" dt="2019-07-15T11:44:14.288" v="7934"/>
        <pc:sldMkLst>
          <pc:docMk/>
          <pc:sldMk cId="3828954768" sldId="262"/>
        </pc:sldMkLst>
      </pc:sldChg>
      <pc:sldChg chg="addSp modSp add del ord">
        <pc:chgData name="Aspinall, Charlotte I." userId="cf7effac-2166-4f0e-a245-46f1973a953d" providerId="ADAL" clId="{CEAD704B-3CC2-4D66-B693-7DCB9C26C438}" dt="2019-07-15T09:49:03.154" v="3351" actId="2696"/>
        <pc:sldMkLst>
          <pc:docMk/>
          <pc:sldMk cId="1122197843" sldId="263"/>
        </pc:sldMkLst>
        <pc:spChg chg="mod ord">
          <ac:chgData name="Aspinall, Charlotte I." userId="cf7effac-2166-4f0e-a245-46f1973a953d" providerId="ADAL" clId="{CEAD704B-3CC2-4D66-B693-7DCB9C26C438}" dt="2019-07-15T08:42:33.542" v="80" actId="20577"/>
          <ac:spMkLst>
            <pc:docMk/>
            <pc:sldMk cId="1122197843" sldId="263"/>
            <ac:spMk id="2" creationId="{134EE01D-CD1F-43AA-BFE6-4A854A441741}"/>
          </ac:spMkLst>
        </pc:spChg>
        <pc:spChg chg="mod ord">
          <ac:chgData name="Aspinall, Charlotte I." userId="cf7effac-2166-4f0e-a245-46f1973a953d" providerId="ADAL" clId="{CEAD704B-3CC2-4D66-B693-7DCB9C26C438}" dt="2019-07-15T09:49:00.697" v="3350" actId="27636"/>
          <ac:spMkLst>
            <pc:docMk/>
            <pc:sldMk cId="1122197843" sldId="263"/>
            <ac:spMk id="3" creationId="{1AA42B4E-B389-4B4E-8EF6-84C6D9498ECD}"/>
          </ac:spMkLst>
        </pc:spChg>
        <pc:spChg chg="add mod ord">
          <ac:chgData name="Aspinall, Charlotte I." userId="cf7effac-2166-4f0e-a245-46f1973a953d" providerId="ADAL" clId="{CEAD704B-3CC2-4D66-B693-7DCB9C26C438}" dt="2019-07-15T08:42:34.091" v="104" actId="6549"/>
          <ac:spMkLst>
            <pc:docMk/>
            <pc:sldMk cId="1122197843" sldId="263"/>
            <ac:spMk id="4" creationId="{ECDB6906-34DE-4A28-865C-2A28DA28E5C7}"/>
          </ac:spMkLst>
        </pc:spChg>
        <pc:graphicFrameChg chg="add mod ord">
          <ac:chgData name="Aspinall, Charlotte I." userId="cf7effac-2166-4f0e-a245-46f1973a953d" providerId="ADAL" clId="{CEAD704B-3CC2-4D66-B693-7DCB9C26C438}" dt="2019-07-15T08:42:34.103" v="106"/>
          <ac:graphicFrameMkLst>
            <pc:docMk/>
            <pc:sldMk cId="1122197843" sldId="263"/>
            <ac:graphicFrameMk id="5" creationId="{D1C8FCBE-9D1A-4EC4-85EA-25BB05A36A96}"/>
          </ac:graphicFrameMkLst>
        </pc:graphicFrameChg>
      </pc:sldChg>
      <pc:sldChg chg="addSp modSp add">
        <pc:chgData name="Aspinall, Charlotte I." userId="cf7effac-2166-4f0e-a245-46f1973a953d" providerId="ADAL" clId="{CEAD704B-3CC2-4D66-B693-7DCB9C26C438}" dt="2019-07-15T11:22:01.742" v="7906" actId="20577"/>
        <pc:sldMkLst>
          <pc:docMk/>
          <pc:sldMk cId="848306323" sldId="264"/>
        </pc:sldMkLst>
        <pc:spChg chg="mod ord">
          <ac:chgData name="Aspinall, Charlotte I." userId="cf7effac-2166-4f0e-a245-46f1973a953d" providerId="ADAL" clId="{CEAD704B-3CC2-4D66-B693-7DCB9C26C438}" dt="2019-07-15T08:58:52.724" v="1462" actId="20577"/>
          <ac:spMkLst>
            <pc:docMk/>
            <pc:sldMk cId="848306323" sldId="264"/>
            <ac:spMk id="2" creationId="{C94A1F01-DFA9-472E-8859-BB6A8D8992EB}"/>
          </ac:spMkLst>
        </pc:spChg>
        <pc:spChg chg="mod ord">
          <ac:chgData name="Aspinall, Charlotte I." userId="cf7effac-2166-4f0e-a245-46f1973a953d" providerId="ADAL" clId="{CEAD704B-3CC2-4D66-B693-7DCB9C26C438}" dt="2019-07-15T11:22:01.742" v="7906" actId="20577"/>
          <ac:spMkLst>
            <pc:docMk/>
            <pc:sldMk cId="848306323" sldId="264"/>
            <ac:spMk id="3" creationId="{67E234BA-D3DF-4010-9C71-B90A6FF23B9D}"/>
          </ac:spMkLst>
        </pc:spChg>
        <pc:spChg chg="add mod ord">
          <ac:chgData name="Aspinall, Charlotte I." userId="cf7effac-2166-4f0e-a245-46f1973a953d" providerId="ADAL" clId="{CEAD704B-3CC2-4D66-B693-7DCB9C26C438}" dt="2019-07-15T08:58:49.055" v="1421"/>
          <ac:spMkLst>
            <pc:docMk/>
            <pc:sldMk cId="848306323" sldId="264"/>
            <ac:spMk id="4" creationId="{A1DA2E58-0938-41A5-8C01-B01CA9481E59}"/>
          </ac:spMkLst>
        </pc:spChg>
        <pc:graphicFrameChg chg="add mod ord">
          <ac:chgData name="Aspinall, Charlotte I." userId="cf7effac-2166-4f0e-a245-46f1973a953d" providerId="ADAL" clId="{CEAD704B-3CC2-4D66-B693-7DCB9C26C438}" dt="2019-07-15T08:58:52.995" v="1464"/>
          <ac:graphicFrameMkLst>
            <pc:docMk/>
            <pc:sldMk cId="848306323" sldId="264"/>
            <ac:graphicFrameMk id="5" creationId="{CB5E76EC-0958-4E78-9128-C10775128C9C}"/>
          </ac:graphicFrameMkLst>
        </pc:graphicFrameChg>
      </pc:sldChg>
      <pc:sldChg chg="addSp modSp add ord modNotesTx">
        <pc:chgData name="Aspinall, Charlotte I." userId="cf7effac-2166-4f0e-a245-46f1973a953d" providerId="ADAL" clId="{CEAD704B-3CC2-4D66-B693-7DCB9C26C438}" dt="2019-07-15T11:17:41.299" v="7196"/>
        <pc:sldMkLst>
          <pc:docMk/>
          <pc:sldMk cId="4274065010" sldId="265"/>
        </pc:sldMkLst>
        <pc:spChg chg="mod ord">
          <ac:chgData name="Aspinall, Charlotte I." userId="cf7effac-2166-4f0e-a245-46f1973a953d" providerId="ADAL" clId="{CEAD704B-3CC2-4D66-B693-7DCB9C26C438}" dt="2019-07-15T09:06:50.728" v="1714" actId="20577"/>
          <ac:spMkLst>
            <pc:docMk/>
            <pc:sldMk cId="4274065010" sldId="265"/>
            <ac:spMk id="2" creationId="{37A73386-665A-439B-BF28-9D6C85FF3B5B}"/>
          </ac:spMkLst>
        </pc:spChg>
        <pc:spChg chg="mod ord">
          <ac:chgData name="Aspinall, Charlotte I." userId="cf7effac-2166-4f0e-a245-46f1973a953d" providerId="ADAL" clId="{CEAD704B-3CC2-4D66-B693-7DCB9C26C438}" dt="2019-07-15T09:56:28.687" v="3766" actId="14100"/>
          <ac:spMkLst>
            <pc:docMk/>
            <pc:sldMk cId="4274065010" sldId="265"/>
            <ac:spMk id="3" creationId="{72AC9863-765E-45A9-845C-3AC533DA4148}"/>
          </ac:spMkLst>
        </pc:spChg>
        <pc:spChg chg="add mod ord">
          <ac:chgData name="Aspinall, Charlotte I." userId="cf7effac-2166-4f0e-a245-46f1973a953d" providerId="ADAL" clId="{CEAD704B-3CC2-4D66-B693-7DCB9C26C438}" dt="2019-07-15T09:06:51.242" v="1726" actId="6549"/>
          <ac:spMkLst>
            <pc:docMk/>
            <pc:sldMk cId="4274065010" sldId="265"/>
            <ac:spMk id="5" creationId="{F914F201-1CBF-4364-B419-678F45761229}"/>
          </ac:spMkLst>
        </pc:spChg>
        <pc:graphicFrameChg chg="add mod ord">
          <ac:chgData name="Aspinall, Charlotte I." userId="cf7effac-2166-4f0e-a245-46f1973a953d" providerId="ADAL" clId="{CEAD704B-3CC2-4D66-B693-7DCB9C26C438}" dt="2019-07-15T09:06:51.250" v="1728"/>
          <ac:graphicFrameMkLst>
            <pc:docMk/>
            <pc:sldMk cId="4274065010" sldId="265"/>
            <ac:graphicFrameMk id="4" creationId="{13141FA2-1F8B-483F-90E8-0D7C81A95171}"/>
          </ac:graphicFrameMkLst>
        </pc:graphicFrameChg>
      </pc:sldChg>
      <pc:sldChg chg="modSp add">
        <pc:chgData name="Aspinall, Charlotte I." userId="cf7effac-2166-4f0e-a245-46f1973a953d" providerId="ADAL" clId="{CEAD704B-3CC2-4D66-B693-7DCB9C26C438}" dt="2019-07-15T11:21:10.785" v="7797" actId="20577"/>
        <pc:sldMkLst>
          <pc:docMk/>
          <pc:sldMk cId="1521210871" sldId="266"/>
        </pc:sldMkLst>
        <pc:spChg chg="mod">
          <ac:chgData name="Aspinall, Charlotte I." userId="cf7effac-2166-4f0e-a245-46f1973a953d" providerId="ADAL" clId="{CEAD704B-3CC2-4D66-B693-7DCB9C26C438}" dt="2019-07-15T11:17:58.025" v="7316" actId="114"/>
          <ac:spMkLst>
            <pc:docMk/>
            <pc:sldMk cId="1521210871" sldId="266"/>
            <ac:spMk id="2" creationId="{37A73386-665A-439B-BF28-9D6C85FF3B5B}"/>
          </ac:spMkLst>
        </pc:spChg>
        <pc:spChg chg="mod">
          <ac:chgData name="Aspinall, Charlotte I." userId="cf7effac-2166-4f0e-a245-46f1973a953d" providerId="ADAL" clId="{CEAD704B-3CC2-4D66-B693-7DCB9C26C438}" dt="2019-07-15T11:21:10.785" v="7797" actId="20577"/>
          <ac:spMkLst>
            <pc:docMk/>
            <pc:sldMk cId="1521210871" sldId="266"/>
            <ac:spMk id="3" creationId="{72AC9863-765E-45A9-845C-3AC533DA4148}"/>
          </ac:spMkLst>
        </pc:spChg>
        <pc:spChg chg="mod">
          <ac:chgData name="Aspinall, Charlotte I." userId="cf7effac-2166-4f0e-a245-46f1973a953d" providerId="ADAL" clId="{CEAD704B-3CC2-4D66-B693-7DCB9C26C438}" dt="2019-07-15T11:17:58.541" v="7340" actId="6549"/>
          <ac:spMkLst>
            <pc:docMk/>
            <pc:sldMk cId="1521210871" sldId="266"/>
            <ac:spMk id="5" creationId="{F914F201-1CBF-4364-B419-678F45761229}"/>
          </ac:spMkLst>
        </pc:spChg>
        <pc:graphicFrameChg chg="mod">
          <ac:chgData name="Aspinall, Charlotte I." userId="cf7effac-2166-4f0e-a245-46f1973a953d" providerId="ADAL" clId="{CEAD704B-3CC2-4D66-B693-7DCB9C26C438}" dt="2019-07-15T11:17:58.556" v="7342"/>
          <ac:graphicFrameMkLst>
            <pc:docMk/>
            <pc:sldMk cId="1521210871" sldId="266"/>
            <ac:graphicFrameMk id="4" creationId="{13141FA2-1F8B-483F-90E8-0D7C81A95171}"/>
          </ac:graphicFrameMkLst>
        </pc:graphicFrameChg>
      </pc:sldChg>
      <pc:sldChg chg="addSp modSp add">
        <pc:chgData name="Aspinall, Charlotte I." userId="cf7effac-2166-4f0e-a245-46f1973a953d" providerId="ADAL" clId="{CEAD704B-3CC2-4D66-B693-7DCB9C26C438}" dt="2019-07-15T09:50:32.392" v="3390" actId="20577"/>
        <pc:sldMkLst>
          <pc:docMk/>
          <pc:sldMk cId="2269298306" sldId="267"/>
        </pc:sldMkLst>
        <pc:spChg chg="mod">
          <ac:chgData name="Aspinall, Charlotte I." userId="cf7effac-2166-4f0e-a245-46f1973a953d" providerId="ADAL" clId="{CEAD704B-3CC2-4D66-B693-7DCB9C26C438}" dt="2019-07-15T09:50:32.392" v="3390" actId="20577"/>
          <ac:spMkLst>
            <pc:docMk/>
            <pc:sldMk cId="2269298306" sldId="267"/>
            <ac:spMk id="3" creationId="{1AA42B4E-B389-4B4E-8EF6-84C6D9498ECD}"/>
          </ac:spMkLst>
        </pc:spChg>
        <pc:picChg chg="add mod">
          <ac:chgData name="Aspinall, Charlotte I." userId="cf7effac-2166-4f0e-a245-46f1973a953d" providerId="ADAL" clId="{CEAD704B-3CC2-4D66-B693-7DCB9C26C438}" dt="2019-07-15T09:12:43.813" v="1979" actId="14100"/>
          <ac:picMkLst>
            <pc:docMk/>
            <pc:sldMk cId="2269298306" sldId="267"/>
            <ac:picMk id="6" creationId="{98C405A3-FFF4-41B4-9408-4F74B2B1DFFE}"/>
          </ac:picMkLst>
        </pc:picChg>
        <pc:picChg chg="add mod">
          <ac:chgData name="Aspinall, Charlotte I." userId="cf7effac-2166-4f0e-a245-46f1973a953d" providerId="ADAL" clId="{CEAD704B-3CC2-4D66-B693-7DCB9C26C438}" dt="2019-07-15T09:12:47.323" v="1980" actId="14100"/>
          <ac:picMkLst>
            <pc:docMk/>
            <pc:sldMk cId="2269298306" sldId="267"/>
            <ac:picMk id="7" creationId="{EF953909-D568-4FA1-B34D-3A80A6E47898}"/>
          </ac:picMkLst>
        </pc:picChg>
      </pc:sldChg>
      <pc:sldChg chg="addSp modSp add ord">
        <pc:chgData name="Aspinall, Charlotte I." userId="cf7effac-2166-4f0e-a245-46f1973a953d" providerId="ADAL" clId="{CEAD704B-3CC2-4D66-B693-7DCB9C26C438}" dt="2019-07-15T09:16:16.799" v="2267" actId="1076"/>
        <pc:sldMkLst>
          <pc:docMk/>
          <pc:sldMk cId="3633809891" sldId="268"/>
        </pc:sldMkLst>
        <pc:spChg chg="mod">
          <ac:chgData name="Aspinall, Charlotte I." userId="cf7effac-2166-4f0e-a245-46f1973a953d" providerId="ADAL" clId="{CEAD704B-3CC2-4D66-B693-7DCB9C26C438}" dt="2019-07-15T09:15:10.462" v="2263" actId="20577"/>
          <ac:spMkLst>
            <pc:docMk/>
            <pc:sldMk cId="3633809891" sldId="268"/>
            <ac:spMk id="3" creationId="{1AA42B4E-B389-4B4E-8EF6-84C6D9498ECD}"/>
          </ac:spMkLst>
        </pc:spChg>
        <pc:picChg chg="add mod">
          <ac:chgData name="Aspinall, Charlotte I." userId="cf7effac-2166-4f0e-a245-46f1973a953d" providerId="ADAL" clId="{CEAD704B-3CC2-4D66-B693-7DCB9C26C438}" dt="2019-07-15T09:16:16.799" v="2267" actId="1076"/>
          <ac:picMkLst>
            <pc:docMk/>
            <pc:sldMk cId="3633809891" sldId="268"/>
            <ac:picMk id="6" creationId="{0EC33F65-A7A0-4A82-9BC7-FD85D2FA071D}"/>
          </ac:picMkLst>
        </pc:picChg>
      </pc:sldChg>
      <pc:sldChg chg="addSp modSp add ord">
        <pc:chgData name="Aspinall, Charlotte I." userId="cf7effac-2166-4f0e-a245-46f1973a953d" providerId="ADAL" clId="{CEAD704B-3CC2-4D66-B693-7DCB9C26C438}" dt="2019-07-15T11:45:50.443" v="7961" actId="20577"/>
        <pc:sldMkLst>
          <pc:docMk/>
          <pc:sldMk cId="4199038921" sldId="269"/>
        </pc:sldMkLst>
        <pc:spChg chg="mod">
          <ac:chgData name="Aspinall, Charlotte I." userId="cf7effac-2166-4f0e-a245-46f1973a953d" providerId="ADAL" clId="{CEAD704B-3CC2-4D66-B693-7DCB9C26C438}" dt="2019-07-15T11:45:50.443" v="7961" actId="20577"/>
          <ac:spMkLst>
            <pc:docMk/>
            <pc:sldMk cId="4199038921" sldId="269"/>
            <ac:spMk id="3" creationId="{1AA42B4E-B389-4B4E-8EF6-84C6D9498ECD}"/>
          </ac:spMkLst>
        </pc:spChg>
        <pc:grpChg chg="add mod">
          <ac:chgData name="Aspinall, Charlotte I." userId="cf7effac-2166-4f0e-a245-46f1973a953d" providerId="ADAL" clId="{CEAD704B-3CC2-4D66-B693-7DCB9C26C438}" dt="2019-07-15T09:24:35.092" v="2511" actId="14100"/>
          <ac:grpSpMkLst>
            <pc:docMk/>
            <pc:sldMk cId="4199038921" sldId="269"/>
            <ac:grpSpMk id="8" creationId="{B0237AE1-4EB6-4878-909C-032F86EE5C55}"/>
          </ac:grpSpMkLst>
        </pc:grpChg>
        <pc:picChg chg="add mod modCrop">
          <ac:chgData name="Aspinall, Charlotte I." userId="cf7effac-2166-4f0e-a245-46f1973a953d" providerId="ADAL" clId="{CEAD704B-3CC2-4D66-B693-7DCB9C26C438}" dt="2019-07-15T09:24:27.081" v="2509" actId="164"/>
          <ac:picMkLst>
            <pc:docMk/>
            <pc:sldMk cId="4199038921" sldId="269"/>
            <ac:picMk id="6" creationId="{F5B11DC3-1E68-4B29-81A8-957C7844F692}"/>
          </ac:picMkLst>
        </pc:picChg>
        <pc:picChg chg="add mod modCrop">
          <ac:chgData name="Aspinall, Charlotte I." userId="cf7effac-2166-4f0e-a245-46f1973a953d" providerId="ADAL" clId="{CEAD704B-3CC2-4D66-B693-7DCB9C26C438}" dt="2019-07-15T09:24:27.081" v="2509" actId="164"/>
          <ac:picMkLst>
            <pc:docMk/>
            <pc:sldMk cId="4199038921" sldId="269"/>
            <ac:picMk id="7" creationId="{5B8FD2AB-95BB-4E9A-AA85-B48F1FFECFF4}"/>
          </ac:picMkLst>
        </pc:picChg>
      </pc:sldChg>
      <pc:sldChg chg="addSp delSp modSp add">
        <pc:chgData name="Aspinall, Charlotte I." userId="cf7effac-2166-4f0e-a245-46f1973a953d" providerId="ADAL" clId="{CEAD704B-3CC2-4D66-B693-7DCB9C26C438}" dt="2019-07-15T09:34:11.468" v="2529" actId="1076"/>
        <pc:sldMkLst>
          <pc:docMk/>
          <pc:sldMk cId="3052494533" sldId="270"/>
        </pc:sldMkLst>
        <pc:spChg chg="del">
          <ac:chgData name="Aspinall, Charlotte I." userId="cf7effac-2166-4f0e-a245-46f1973a953d" providerId="ADAL" clId="{CEAD704B-3CC2-4D66-B693-7DCB9C26C438}" dt="2019-07-15T09:29:12.363" v="2515" actId="478"/>
          <ac:spMkLst>
            <pc:docMk/>
            <pc:sldMk cId="3052494533" sldId="270"/>
            <ac:spMk id="3" creationId="{1AA42B4E-B389-4B4E-8EF6-84C6D9498ECD}"/>
          </ac:spMkLst>
        </pc:spChg>
        <pc:spChg chg="add del mod">
          <ac:chgData name="Aspinall, Charlotte I." userId="cf7effac-2166-4f0e-a245-46f1973a953d" providerId="ADAL" clId="{CEAD704B-3CC2-4D66-B693-7DCB9C26C438}" dt="2019-07-15T09:29:14.507" v="2516" actId="478"/>
          <ac:spMkLst>
            <pc:docMk/>
            <pc:sldMk cId="3052494533" sldId="270"/>
            <ac:spMk id="11" creationId="{B128B249-7D50-452D-BD69-473C91597B5F}"/>
          </ac:spMkLst>
        </pc:spChg>
        <pc:grpChg chg="del">
          <ac:chgData name="Aspinall, Charlotte I." userId="cf7effac-2166-4f0e-a245-46f1973a953d" providerId="ADAL" clId="{CEAD704B-3CC2-4D66-B693-7DCB9C26C438}" dt="2019-07-15T09:29:08.367" v="2513" actId="478"/>
          <ac:grpSpMkLst>
            <pc:docMk/>
            <pc:sldMk cId="3052494533" sldId="270"/>
            <ac:grpSpMk id="8" creationId="{B0237AE1-4EB6-4878-909C-032F86EE5C55}"/>
          </ac:grpSpMkLst>
        </pc:grpChg>
        <pc:picChg chg="add mod">
          <ac:chgData name="Aspinall, Charlotte I." userId="cf7effac-2166-4f0e-a245-46f1973a953d" providerId="ADAL" clId="{CEAD704B-3CC2-4D66-B693-7DCB9C26C438}" dt="2019-07-15T09:34:11.468" v="2529" actId="1076"/>
          <ac:picMkLst>
            <pc:docMk/>
            <pc:sldMk cId="3052494533" sldId="270"/>
            <ac:picMk id="9" creationId="{0CA00CB1-1826-465A-AD5B-DAAABB83EC8F}"/>
          </ac:picMkLst>
        </pc:picChg>
        <pc:picChg chg="add del mod">
          <ac:chgData name="Aspinall, Charlotte I." userId="cf7effac-2166-4f0e-a245-46f1973a953d" providerId="ADAL" clId="{CEAD704B-3CC2-4D66-B693-7DCB9C26C438}" dt="2019-07-15T09:34:02.392" v="2525" actId="478"/>
          <ac:picMkLst>
            <pc:docMk/>
            <pc:sldMk cId="3052494533" sldId="270"/>
            <ac:picMk id="12" creationId="{41C0AF55-3E5E-43B8-AAA7-CF8962405F57}"/>
          </ac:picMkLst>
        </pc:picChg>
      </pc:sldChg>
      <pc:sldChg chg="addSp delSp modSp add">
        <pc:chgData name="Aspinall, Charlotte I." userId="cf7effac-2166-4f0e-a245-46f1973a953d" providerId="ADAL" clId="{CEAD704B-3CC2-4D66-B693-7DCB9C26C438}" dt="2019-07-15T10:38:11.017" v="5313" actId="1076"/>
        <pc:sldMkLst>
          <pc:docMk/>
          <pc:sldMk cId="3634780921" sldId="271"/>
        </pc:sldMkLst>
        <pc:spChg chg="add mod">
          <ac:chgData name="Aspinall, Charlotte I." userId="cf7effac-2166-4f0e-a245-46f1973a953d" providerId="ADAL" clId="{CEAD704B-3CC2-4D66-B693-7DCB9C26C438}" dt="2019-07-15T09:50:39.147" v="3391" actId="20577"/>
          <ac:spMkLst>
            <pc:docMk/>
            <pc:sldMk cId="3634780921" sldId="271"/>
            <ac:spMk id="6" creationId="{6001E7B8-2762-4221-8288-9A549FC78565}"/>
          </ac:spMkLst>
        </pc:spChg>
        <pc:picChg chg="add del mod">
          <ac:chgData name="Aspinall, Charlotte I." userId="cf7effac-2166-4f0e-a245-46f1973a953d" providerId="ADAL" clId="{CEAD704B-3CC2-4D66-B693-7DCB9C26C438}" dt="2019-07-15T10:38:01.238" v="5308" actId="478"/>
          <ac:picMkLst>
            <pc:docMk/>
            <pc:sldMk cId="3634780921" sldId="271"/>
            <ac:picMk id="3" creationId="{8166EF6E-127A-491B-B889-B3917DEF14CB}"/>
          </ac:picMkLst>
        </pc:picChg>
        <pc:picChg chg="add mod">
          <ac:chgData name="Aspinall, Charlotte I." userId="cf7effac-2166-4f0e-a245-46f1973a953d" providerId="ADAL" clId="{CEAD704B-3CC2-4D66-B693-7DCB9C26C438}" dt="2019-07-15T10:38:11.017" v="5313" actId="1076"/>
          <ac:picMkLst>
            <pc:docMk/>
            <pc:sldMk cId="3634780921" sldId="271"/>
            <ac:picMk id="7" creationId="{B70A4927-5072-4A53-AFDB-18E5CC320797}"/>
          </ac:picMkLst>
        </pc:picChg>
        <pc:picChg chg="del">
          <ac:chgData name="Aspinall, Charlotte I." userId="cf7effac-2166-4f0e-a245-46f1973a953d" providerId="ADAL" clId="{CEAD704B-3CC2-4D66-B693-7DCB9C26C438}" dt="2019-07-15T09:39:12.460" v="2531" actId="478"/>
          <ac:picMkLst>
            <pc:docMk/>
            <pc:sldMk cId="3634780921" sldId="271"/>
            <ac:picMk id="9" creationId="{0CA00CB1-1826-465A-AD5B-DAAABB83EC8F}"/>
          </ac:picMkLst>
        </pc:picChg>
      </pc:sldChg>
      <pc:sldChg chg="addSp delSp modSp add">
        <pc:chgData name="Aspinall, Charlotte I." userId="cf7effac-2166-4f0e-a245-46f1973a953d" providerId="ADAL" clId="{CEAD704B-3CC2-4D66-B693-7DCB9C26C438}" dt="2019-07-15T10:18:31.843" v="3774" actId="1076"/>
        <pc:sldMkLst>
          <pc:docMk/>
          <pc:sldMk cId="4222867558" sldId="272"/>
        </pc:sldMkLst>
        <pc:spChg chg="mod">
          <ac:chgData name="Aspinall, Charlotte I." userId="cf7effac-2166-4f0e-a245-46f1973a953d" providerId="ADAL" clId="{CEAD704B-3CC2-4D66-B693-7DCB9C26C438}" dt="2019-07-15T09:50:42.657" v="3392" actId="20577"/>
          <ac:spMkLst>
            <pc:docMk/>
            <pc:sldMk cId="4222867558" sldId="272"/>
            <ac:spMk id="6" creationId="{6001E7B8-2762-4221-8288-9A549FC78565}"/>
          </ac:spMkLst>
        </pc:spChg>
        <pc:picChg chg="del">
          <ac:chgData name="Aspinall, Charlotte I." userId="cf7effac-2166-4f0e-a245-46f1973a953d" providerId="ADAL" clId="{CEAD704B-3CC2-4D66-B693-7DCB9C26C438}" dt="2019-07-15T09:41:13.314" v="2608" actId="478"/>
          <ac:picMkLst>
            <pc:docMk/>
            <pc:sldMk cId="4222867558" sldId="272"/>
            <ac:picMk id="3" creationId="{8166EF6E-127A-491B-B889-B3917DEF14CB}"/>
          </ac:picMkLst>
        </pc:picChg>
        <pc:picChg chg="add del mod">
          <ac:chgData name="Aspinall, Charlotte I." userId="cf7effac-2166-4f0e-a245-46f1973a953d" providerId="ADAL" clId="{CEAD704B-3CC2-4D66-B693-7DCB9C26C438}" dt="2019-07-15T10:18:23.723" v="3769" actId="478"/>
          <ac:picMkLst>
            <pc:docMk/>
            <pc:sldMk cId="4222867558" sldId="272"/>
            <ac:picMk id="7" creationId="{6B96F839-CFFD-49E0-ACE0-8C9DEE6BD0EF}"/>
          </ac:picMkLst>
        </pc:picChg>
        <pc:picChg chg="add mod">
          <ac:chgData name="Aspinall, Charlotte I." userId="cf7effac-2166-4f0e-a245-46f1973a953d" providerId="ADAL" clId="{CEAD704B-3CC2-4D66-B693-7DCB9C26C438}" dt="2019-07-15T10:18:31.843" v="3774" actId="1076"/>
          <ac:picMkLst>
            <pc:docMk/>
            <pc:sldMk cId="4222867558" sldId="272"/>
            <ac:picMk id="8" creationId="{9DB93178-763B-48B1-B0A6-D1A060523239}"/>
          </ac:picMkLst>
        </pc:picChg>
      </pc:sldChg>
      <pc:sldChg chg="addSp delSp modSp add">
        <pc:chgData name="Aspinall, Charlotte I." userId="cf7effac-2166-4f0e-a245-46f1973a953d" providerId="ADAL" clId="{CEAD704B-3CC2-4D66-B693-7DCB9C26C438}" dt="2019-07-15T09:51:14.851" v="3400" actId="1076"/>
        <pc:sldMkLst>
          <pc:docMk/>
          <pc:sldMk cId="68827743" sldId="273"/>
        </pc:sldMkLst>
        <pc:spChg chg="mod">
          <ac:chgData name="Aspinall, Charlotte I." userId="cf7effac-2166-4f0e-a245-46f1973a953d" providerId="ADAL" clId="{CEAD704B-3CC2-4D66-B693-7DCB9C26C438}" dt="2019-07-15T09:50:48.720" v="3393" actId="20577"/>
          <ac:spMkLst>
            <pc:docMk/>
            <pc:sldMk cId="68827743" sldId="273"/>
            <ac:spMk id="6" creationId="{6001E7B8-2762-4221-8288-9A549FC78565}"/>
          </ac:spMkLst>
        </pc:spChg>
        <pc:picChg chg="add mod">
          <ac:chgData name="Aspinall, Charlotte I." userId="cf7effac-2166-4f0e-a245-46f1973a953d" providerId="ADAL" clId="{CEAD704B-3CC2-4D66-B693-7DCB9C26C438}" dt="2019-07-15T09:51:14.851" v="3400" actId="1076"/>
          <ac:picMkLst>
            <pc:docMk/>
            <pc:sldMk cId="68827743" sldId="273"/>
            <ac:picMk id="3" creationId="{0739818F-82DD-42A2-B79F-005A8B8D5C65}"/>
          </ac:picMkLst>
        </pc:picChg>
        <pc:picChg chg="del">
          <ac:chgData name="Aspinall, Charlotte I." userId="cf7effac-2166-4f0e-a245-46f1973a953d" providerId="ADAL" clId="{CEAD704B-3CC2-4D66-B693-7DCB9C26C438}" dt="2019-07-15T09:50:22.577" v="3389" actId="478"/>
          <ac:picMkLst>
            <pc:docMk/>
            <pc:sldMk cId="68827743" sldId="273"/>
            <ac:picMk id="7" creationId="{6B96F839-CFFD-49E0-ACE0-8C9DEE6BD0EF}"/>
          </ac:picMkLst>
        </pc:picChg>
      </pc:sldChg>
      <pc:sldChg chg="add del">
        <pc:chgData name="Aspinall, Charlotte I." userId="cf7effac-2166-4f0e-a245-46f1973a953d" providerId="ADAL" clId="{CEAD704B-3CC2-4D66-B693-7DCB9C26C438}" dt="2019-07-15T09:50:09.918" v="3356"/>
        <pc:sldMkLst>
          <pc:docMk/>
          <pc:sldMk cId="852069512" sldId="273"/>
        </pc:sldMkLst>
      </pc:sldChg>
      <pc:sldChg chg="delSp modSp add del">
        <pc:chgData name="Aspinall, Charlotte I." userId="cf7effac-2166-4f0e-a245-46f1973a953d" providerId="ADAL" clId="{CEAD704B-3CC2-4D66-B693-7DCB9C26C438}" dt="2019-07-15T11:09:45.347" v="6866" actId="2696"/>
        <pc:sldMkLst>
          <pc:docMk/>
          <pc:sldMk cId="539672274" sldId="274"/>
        </pc:sldMkLst>
        <pc:spChg chg="mod">
          <ac:chgData name="Aspinall, Charlotte I." userId="cf7effac-2166-4f0e-a245-46f1973a953d" providerId="ADAL" clId="{CEAD704B-3CC2-4D66-B693-7DCB9C26C438}" dt="2019-07-15T10:20:44.749" v="3843" actId="20577"/>
          <ac:spMkLst>
            <pc:docMk/>
            <pc:sldMk cId="539672274" sldId="274"/>
            <ac:spMk id="2" creationId="{134EE01D-CD1F-43AA-BFE6-4A854A441741}"/>
          </ac:spMkLst>
        </pc:spChg>
        <pc:spChg chg="mod">
          <ac:chgData name="Aspinall, Charlotte I." userId="cf7effac-2166-4f0e-a245-46f1973a953d" providerId="ADAL" clId="{CEAD704B-3CC2-4D66-B693-7DCB9C26C438}" dt="2019-07-15T10:32:27.535" v="4788" actId="20577"/>
          <ac:spMkLst>
            <pc:docMk/>
            <pc:sldMk cId="539672274" sldId="274"/>
            <ac:spMk id="3" creationId="{1AA42B4E-B389-4B4E-8EF6-84C6D9498ECD}"/>
          </ac:spMkLst>
        </pc:spChg>
        <pc:spChg chg="mod">
          <ac:chgData name="Aspinall, Charlotte I." userId="cf7effac-2166-4f0e-a245-46f1973a953d" providerId="ADAL" clId="{CEAD704B-3CC2-4D66-B693-7DCB9C26C438}" dt="2019-07-15T10:20:45.259" v="3867" actId="6549"/>
          <ac:spMkLst>
            <pc:docMk/>
            <pc:sldMk cId="539672274" sldId="274"/>
            <ac:spMk id="4" creationId="{ECDB6906-34DE-4A28-865C-2A28DA28E5C7}"/>
          </ac:spMkLst>
        </pc:spChg>
        <pc:graphicFrameChg chg="mod">
          <ac:chgData name="Aspinall, Charlotte I." userId="cf7effac-2166-4f0e-a245-46f1973a953d" providerId="ADAL" clId="{CEAD704B-3CC2-4D66-B693-7DCB9C26C438}" dt="2019-07-15T10:20:45.269" v="3869"/>
          <ac:graphicFrameMkLst>
            <pc:docMk/>
            <pc:sldMk cId="539672274" sldId="274"/>
            <ac:graphicFrameMk id="5" creationId="{D1C8FCBE-9D1A-4EC4-85EA-25BB05A36A96}"/>
          </ac:graphicFrameMkLst>
        </pc:graphicFrameChg>
        <pc:picChg chg="del">
          <ac:chgData name="Aspinall, Charlotte I." userId="cf7effac-2166-4f0e-a245-46f1973a953d" providerId="ADAL" clId="{CEAD704B-3CC2-4D66-B693-7DCB9C26C438}" dt="2019-07-15T10:20:47.589" v="3870" actId="478"/>
          <ac:picMkLst>
            <pc:docMk/>
            <pc:sldMk cId="539672274" sldId="274"/>
            <ac:picMk id="6" creationId="{98C405A3-FFF4-41B4-9408-4F74B2B1DFFE}"/>
          </ac:picMkLst>
        </pc:picChg>
        <pc:picChg chg="del">
          <ac:chgData name="Aspinall, Charlotte I." userId="cf7effac-2166-4f0e-a245-46f1973a953d" providerId="ADAL" clId="{CEAD704B-3CC2-4D66-B693-7DCB9C26C438}" dt="2019-07-15T10:20:47.589" v="3870" actId="478"/>
          <ac:picMkLst>
            <pc:docMk/>
            <pc:sldMk cId="539672274" sldId="274"/>
            <ac:picMk id="7" creationId="{EF953909-D568-4FA1-B34D-3A80A6E47898}"/>
          </ac:picMkLst>
        </pc:picChg>
      </pc:sldChg>
      <pc:sldChg chg="addSp modSp add">
        <pc:chgData name="Aspinall, Charlotte I." userId="cf7effac-2166-4f0e-a245-46f1973a953d" providerId="ADAL" clId="{CEAD704B-3CC2-4D66-B693-7DCB9C26C438}" dt="2019-07-15T11:44:04.287" v="7933" actId="20577"/>
        <pc:sldMkLst>
          <pc:docMk/>
          <pc:sldMk cId="2058096681" sldId="274"/>
        </pc:sldMkLst>
        <pc:spChg chg="mod">
          <ac:chgData name="Aspinall, Charlotte I." userId="cf7effac-2166-4f0e-a245-46f1973a953d" providerId="ADAL" clId="{CEAD704B-3CC2-4D66-B693-7DCB9C26C438}" dt="2019-07-15T11:19:20.113" v="7504" actId="20577"/>
          <ac:spMkLst>
            <pc:docMk/>
            <pc:sldMk cId="2058096681" sldId="274"/>
            <ac:spMk id="2" creationId="{134EE01D-CD1F-43AA-BFE6-4A854A441741}"/>
          </ac:spMkLst>
        </pc:spChg>
        <pc:spChg chg="mod">
          <ac:chgData name="Aspinall, Charlotte I." userId="cf7effac-2166-4f0e-a245-46f1973a953d" providerId="ADAL" clId="{CEAD704B-3CC2-4D66-B693-7DCB9C26C438}" dt="2019-07-15T11:44:04.287" v="7933" actId="20577"/>
          <ac:spMkLst>
            <pc:docMk/>
            <pc:sldMk cId="2058096681" sldId="274"/>
            <ac:spMk id="3" creationId="{1AA42B4E-B389-4B4E-8EF6-84C6D9498ECD}"/>
          </ac:spMkLst>
        </pc:spChg>
        <pc:spChg chg="mod">
          <ac:chgData name="Aspinall, Charlotte I." userId="cf7effac-2166-4f0e-a245-46f1973a953d" providerId="ADAL" clId="{CEAD704B-3CC2-4D66-B693-7DCB9C26C438}" dt="2019-07-15T11:19:20.658" v="7545" actId="6549"/>
          <ac:spMkLst>
            <pc:docMk/>
            <pc:sldMk cId="2058096681" sldId="274"/>
            <ac:spMk id="4" creationId="{ECDB6906-34DE-4A28-865C-2A28DA28E5C7}"/>
          </ac:spMkLst>
        </pc:spChg>
        <pc:graphicFrameChg chg="mod">
          <ac:chgData name="Aspinall, Charlotte I." userId="cf7effac-2166-4f0e-a245-46f1973a953d" providerId="ADAL" clId="{CEAD704B-3CC2-4D66-B693-7DCB9C26C438}" dt="2019-07-15T11:19:20.673" v="7547"/>
          <ac:graphicFrameMkLst>
            <pc:docMk/>
            <pc:sldMk cId="2058096681" sldId="274"/>
            <ac:graphicFrameMk id="5" creationId="{D1C8FCBE-9D1A-4EC4-85EA-25BB05A36A96}"/>
          </ac:graphicFrameMkLst>
        </pc:graphicFrameChg>
        <pc:picChg chg="add mod">
          <ac:chgData name="Aspinall, Charlotte I." userId="cf7effac-2166-4f0e-a245-46f1973a953d" providerId="ADAL" clId="{CEAD704B-3CC2-4D66-B693-7DCB9C26C438}" dt="2019-07-15T11:44:01.127" v="7923" actId="1076"/>
          <ac:picMkLst>
            <pc:docMk/>
            <pc:sldMk cId="2058096681" sldId="274"/>
            <ac:picMk id="6" creationId="{E7C56990-F4AD-497A-BF2F-062B0D9FD251}"/>
          </ac:picMkLst>
        </pc:picChg>
      </pc:sldChg>
      <pc:sldChg chg="addSp modSp add">
        <pc:chgData name="Aspinall, Charlotte I." userId="cf7effac-2166-4f0e-a245-46f1973a953d" providerId="ADAL" clId="{CEAD704B-3CC2-4D66-B693-7DCB9C26C438}" dt="2019-07-15T10:46:57.871" v="5457" actId="20577"/>
        <pc:sldMkLst>
          <pc:docMk/>
          <pc:sldMk cId="2851299384" sldId="275"/>
        </pc:sldMkLst>
        <pc:spChg chg="mod">
          <ac:chgData name="Aspinall, Charlotte I." userId="cf7effac-2166-4f0e-a245-46f1973a953d" providerId="ADAL" clId="{CEAD704B-3CC2-4D66-B693-7DCB9C26C438}" dt="2019-07-15T10:46:57.871" v="5457" actId="20577"/>
          <ac:spMkLst>
            <pc:docMk/>
            <pc:sldMk cId="2851299384" sldId="275"/>
            <ac:spMk id="3" creationId="{163D7D8F-3804-4F0A-AFA0-164551470476}"/>
          </ac:spMkLst>
        </pc:spChg>
        <pc:picChg chg="add mod">
          <ac:chgData name="Aspinall, Charlotte I." userId="cf7effac-2166-4f0e-a245-46f1973a953d" providerId="ADAL" clId="{CEAD704B-3CC2-4D66-B693-7DCB9C26C438}" dt="2019-07-15T10:42:46.479" v="5394" actId="14100"/>
          <ac:picMkLst>
            <pc:docMk/>
            <pc:sldMk cId="2851299384" sldId="275"/>
            <ac:picMk id="6" creationId="{193A0D97-0D3A-450A-84DF-39419F749025}"/>
          </ac:picMkLst>
        </pc:picChg>
        <pc:picChg chg="add mod">
          <ac:chgData name="Aspinall, Charlotte I." userId="cf7effac-2166-4f0e-a245-46f1973a953d" providerId="ADAL" clId="{CEAD704B-3CC2-4D66-B693-7DCB9C26C438}" dt="2019-07-15T10:43:20.585" v="5408" actId="14100"/>
          <ac:picMkLst>
            <pc:docMk/>
            <pc:sldMk cId="2851299384" sldId="275"/>
            <ac:picMk id="7" creationId="{7183AE55-EDC6-47F0-A697-E7E112F9A3D0}"/>
          </ac:picMkLst>
        </pc:picChg>
      </pc:sldChg>
      <pc:sldChg chg="add del">
        <pc:chgData name="Aspinall, Charlotte I." userId="cf7effac-2166-4f0e-a245-46f1973a953d" providerId="ADAL" clId="{CEAD704B-3CC2-4D66-B693-7DCB9C26C438}" dt="2019-07-15T10:41:54.945" v="5331"/>
        <pc:sldMkLst>
          <pc:docMk/>
          <pc:sldMk cId="3174362990" sldId="275"/>
        </pc:sldMkLst>
      </pc:sldChg>
      <pc:sldChg chg="delSp modSp add">
        <pc:chgData name="Aspinall, Charlotte I." userId="cf7effac-2166-4f0e-a245-46f1973a953d" providerId="ADAL" clId="{CEAD704B-3CC2-4D66-B693-7DCB9C26C438}" dt="2019-07-15T10:51:49.141" v="6104" actId="20577"/>
        <pc:sldMkLst>
          <pc:docMk/>
          <pc:sldMk cId="2552003950" sldId="276"/>
        </pc:sldMkLst>
        <pc:spChg chg="mod">
          <ac:chgData name="Aspinall, Charlotte I." userId="cf7effac-2166-4f0e-a245-46f1973a953d" providerId="ADAL" clId="{CEAD704B-3CC2-4D66-B693-7DCB9C26C438}" dt="2019-07-15T10:51:49.141" v="6104" actId="20577"/>
          <ac:spMkLst>
            <pc:docMk/>
            <pc:sldMk cId="2552003950" sldId="276"/>
            <ac:spMk id="3" creationId="{163D7D8F-3804-4F0A-AFA0-164551470476}"/>
          </ac:spMkLst>
        </pc:spChg>
        <pc:picChg chg="del">
          <ac:chgData name="Aspinall, Charlotte I." userId="cf7effac-2166-4f0e-a245-46f1973a953d" providerId="ADAL" clId="{CEAD704B-3CC2-4D66-B693-7DCB9C26C438}" dt="2019-07-15T10:45:26.852" v="5428" actId="478"/>
          <ac:picMkLst>
            <pc:docMk/>
            <pc:sldMk cId="2552003950" sldId="276"/>
            <ac:picMk id="6" creationId="{193A0D97-0D3A-450A-84DF-39419F749025}"/>
          </ac:picMkLst>
        </pc:picChg>
        <pc:picChg chg="del">
          <ac:chgData name="Aspinall, Charlotte I." userId="cf7effac-2166-4f0e-a245-46f1973a953d" providerId="ADAL" clId="{CEAD704B-3CC2-4D66-B693-7DCB9C26C438}" dt="2019-07-15T10:45:28.200" v="5429" actId="478"/>
          <ac:picMkLst>
            <pc:docMk/>
            <pc:sldMk cId="2552003950" sldId="276"/>
            <ac:picMk id="7" creationId="{7183AE55-EDC6-47F0-A697-E7E112F9A3D0}"/>
          </ac:picMkLst>
        </pc:picChg>
      </pc:sldChg>
      <pc:sldChg chg="addSp delSp modSp add">
        <pc:chgData name="Aspinall, Charlotte I." userId="cf7effac-2166-4f0e-a245-46f1973a953d" providerId="ADAL" clId="{CEAD704B-3CC2-4D66-B693-7DCB9C26C438}" dt="2019-07-15T10:52:14.479" v="6113" actId="1076"/>
        <pc:sldMkLst>
          <pc:docMk/>
          <pc:sldMk cId="220651133" sldId="277"/>
        </pc:sldMkLst>
        <pc:spChg chg="del mod">
          <ac:chgData name="Aspinall, Charlotte I." userId="cf7effac-2166-4f0e-a245-46f1973a953d" providerId="ADAL" clId="{CEAD704B-3CC2-4D66-B693-7DCB9C26C438}" dt="2019-07-15T10:52:10.962" v="6111" actId="478"/>
          <ac:spMkLst>
            <pc:docMk/>
            <pc:sldMk cId="220651133" sldId="277"/>
            <ac:spMk id="3" creationId="{163D7D8F-3804-4F0A-AFA0-164551470476}"/>
          </ac:spMkLst>
        </pc:spChg>
        <pc:picChg chg="add mod">
          <ac:chgData name="Aspinall, Charlotte I." userId="cf7effac-2166-4f0e-a245-46f1973a953d" providerId="ADAL" clId="{CEAD704B-3CC2-4D66-B693-7DCB9C26C438}" dt="2019-07-15T10:52:14.479" v="6113" actId="1076"/>
          <ac:picMkLst>
            <pc:docMk/>
            <pc:sldMk cId="220651133" sldId="277"/>
            <ac:picMk id="6" creationId="{7E4D0C63-EA0E-403F-97C6-FEA60AF31D89}"/>
          </ac:picMkLst>
        </pc:picChg>
      </pc:sldChg>
      <pc:sldChg chg="addSp modSp add ord">
        <pc:chgData name="Aspinall, Charlotte I." userId="cf7effac-2166-4f0e-a245-46f1973a953d" providerId="ADAL" clId="{CEAD704B-3CC2-4D66-B693-7DCB9C26C438}" dt="2019-07-15T11:46:15.664" v="7962"/>
        <pc:sldMkLst>
          <pc:docMk/>
          <pc:sldMk cId="2183420997" sldId="278"/>
        </pc:sldMkLst>
        <pc:spChg chg="mod">
          <ac:chgData name="Aspinall, Charlotte I." userId="cf7effac-2166-4f0e-a245-46f1973a953d" providerId="ADAL" clId="{CEAD704B-3CC2-4D66-B693-7DCB9C26C438}" dt="2019-07-15T10:57:59.174" v="6688" actId="20577"/>
          <ac:spMkLst>
            <pc:docMk/>
            <pc:sldMk cId="2183420997" sldId="278"/>
            <ac:spMk id="2" creationId="{03078C2B-3497-4C2D-8D32-43051AB8AAB7}"/>
          </ac:spMkLst>
        </pc:spChg>
        <pc:spChg chg="mod">
          <ac:chgData name="Aspinall, Charlotte I." userId="cf7effac-2166-4f0e-a245-46f1973a953d" providerId="ADAL" clId="{CEAD704B-3CC2-4D66-B693-7DCB9C26C438}" dt="2019-07-15T11:16:19.439" v="7157" actId="5793"/>
          <ac:spMkLst>
            <pc:docMk/>
            <pc:sldMk cId="2183420997" sldId="278"/>
            <ac:spMk id="3" creationId="{163D7D8F-3804-4F0A-AFA0-164551470476}"/>
          </ac:spMkLst>
        </pc:spChg>
        <pc:spChg chg="mod">
          <ac:chgData name="Aspinall, Charlotte I." userId="cf7effac-2166-4f0e-a245-46f1973a953d" providerId="ADAL" clId="{CEAD704B-3CC2-4D66-B693-7DCB9C26C438}" dt="2019-07-15T10:57:59.694" v="6712" actId="6549"/>
          <ac:spMkLst>
            <pc:docMk/>
            <pc:sldMk cId="2183420997" sldId="278"/>
            <ac:spMk id="5" creationId="{0F244A1B-A8D0-4568-A7A4-35A909A143D3}"/>
          </ac:spMkLst>
        </pc:spChg>
        <pc:graphicFrameChg chg="mod">
          <ac:chgData name="Aspinall, Charlotte I." userId="cf7effac-2166-4f0e-a245-46f1973a953d" providerId="ADAL" clId="{CEAD704B-3CC2-4D66-B693-7DCB9C26C438}" dt="2019-07-15T10:57:59.705" v="6714"/>
          <ac:graphicFrameMkLst>
            <pc:docMk/>
            <pc:sldMk cId="2183420997" sldId="278"/>
            <ac:graphicFrameMk id="4" creationId="{17752AD4-B6AE-48D8-8597-521DB5883DD6}"/>
          </ac:graphicFrameMkLst>
        </pc:graphicFrameChg>
        <pc:graphicFrameChg chg="add mod modGraphic">
          <ac:chgData name="Aspinall, Charlotte I." userId="cf7effac-2166-4f0e-a245-46f1973a953d" providerId="ADAL" clId="{CEAD704B-3CC2-4D66-B693-7DCB9C26C438}" dt="2019-07-15T11:17:35.580" v="7194" actId="1076"/>
          <ac:graphicFrameMkLst>
            <pc:docMk/>
            <pc:sldMk cId="2183420997" sldId="278"/>
            <ac:graphicFrameMk id="6" creationId="{72C80DAD-ABBA-46C1-AFC9-0F70444DFAD1}"/>
          </ac:graphicFrameMkLst>
        </pc:graphicFrameChg>
      </pc:sldChg>
      <pc:sldChg chg="add">
        <pc:chgData name="Aspinall, Charlotte I." userId="cf7effac-2166-4f0e-a245-46f1973a953d" providerId="ADAL" clId="{CEAD704B-3CC2-4D66-B693-7DCB9C26C438}" dt="2019-07-15T11:44:14.288" v="7934"/>
        <pc:sldMkLst>
          <pc:docMk/>
          <pc:sldMk cId="1025784848" sldId="279"/>
        </pc:sldMkLst>
      </pc:sldChg>
      <pc:sldChg chg="add">
        <pc:chgData name="Aspinall, Charlotte I." userId="cf7effac-2166-4f0e-a245-46f1973a953d" providerId="ADAL" clId="{CEAD704B-3CC2-4D66-B693-7DCB9C26C438}" dt="2019-07-15T11:44:14.288" v="7934"/>
        <pc:sldMkLst>
          <pc:docMk/>
          <pc:sldMk cId="1328937181" sldId="280"/>
        </pc:sldMkLst>
      </pc:sldChg>
      <pc:sldChg chg="add">
        <pc:chgData name="Aspinall, Charlotte I." userId="cf7effac-2166-4f0e-a245-46f1973a953d" providerId="ADAL" clId="{CEAD704B-3CC2-4D66-B693-7DCB9C26C438}" dt="2019-07-15T11:44:14.288" v="7934"/>
        <pc:sldMkLst>
          <pc:docMk/>
          <pc:sldMk cId="1463158117" sldId="281"/>
        </pc:sldMkLst>
      </pc:sldChg>
      <pc:sldChg chg="add">
        <pc:chgData name="Aspinall, Charlotte I." userId="cf7effac-2166-4f0e-a245-46f1973a953d" providerId="ADAL" clId="{CEAD704B-3CC2-4D66-B693-7DCB9C26C438}" dt="2019-07-15T11:44:14.288" v="7934"/>
        <pc:sldMkLst>
          <pc:docMk/>
          <pc:sldMk cId="3535568547" sldId="282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E5929C-E13C-4B3B-BE08-2A6018FF5EAA}" type="datetimeFigureOut">
              <a:rPr lang="en-GB" smtClean="0"/>
              <a:t>15/07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B30DE1-3D94-4FAC-AAAD-315A5399B22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98922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B30DE1-3D94-4FAC-AAAD-315A5399B221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7489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B30DE1-3D94-4FAC-AAAD-315A5399B221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17730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B30DE1-3D94-4FAC-AAAD-315A5399B221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9234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C2E6E-C3AC-458B-A0A5-A5589EE795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6DE1A53-690E-4C93-B425-05A971C411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8712DE-1806-41F8-B69D-76BD1857F4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5AF88-56C3-4BB4-8B7D-50D14E6B3E91}" type="datetimeFigureOut">
              <a:rPr lang="en-GB" smtClean="0"/>
              <a:t>15/07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50A815-89D6-465E-8572-B966E8F552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9630BC-0EB6-40B1-AC93-5C815577EB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B6C9D4-047A-4F60-A22C-1B802AC0B77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44347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598AE7-9DAF-4B4B-B0A1-4B326F27C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7FDBDB-2B62-4CD1-8C96-3332C5B2C2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6E2EC7-EE91-4AFE-B31C-F4067EC1F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5AF88-56C3-4BB4-8B7D-50D14E6B3E91}" type="datetimeFigureOut">
              <a:rPr lang="en-GB" smtClean="0"/>
              <a:t>15/07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5F6588-CF62-4EBC-A92B-F3D699DC59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04E121-F594-4A2D-BEB6-1CA98C4C99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B6C9D4-047A-4F60-A22C-1B802AC0B77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415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4046143-E952-44C5-9E69-FCD7B8B60B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CD8A4A3-F17A-48FA-B09E-8B15B25D90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FAA87B-59F6-4CCC-A9C3-DA9ADA230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5AF88-56C3-4BB4-8B7D-50D14E6B3E91}" type="datetimeFigureOut">
              <a:rPr lang="en-GB" smtClean="0"/>
              <a:t>15/07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5E85EE-ABE0-4E96-9AFA-0E506D3AB3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471C6E-5465-4DE6-98B6-475E555CC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B6C9D4-047A-4F60-A22C-1B802AC0B77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67401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FBE86F-CA83-4C9E-A133-DFBAD415D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C00256-6E3E-49AA-997D-76B993B40F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381AE1-E258-4417-9CC0-7D00D7BDE7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5AF88-56C3-4BB4-8B7D-50D14E6B3E91}" type="datetimeFigureOut">
              <a:rPr lang="en-GB" smtClean="0"/>
              <a:t>15/07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A7DFAB-DF23-4090-B313-4E0DD35D0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8E6B54-CF0F-4B85-BA92-6CFE40A6B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B6C9D4-047A-4F60-A22C-1B802AC0B77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3783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D00079-57AB-4621-893D-E0CC19F709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BBD334-96AC-48F8-8613-1A63B1EA1B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86E6C6-4FA6-4A2A-BBBC-67D88BECD4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5AF88-56C3-4BB4-8B7D-50D14E6B3E91}" type="datetimeFigureOut">
              <a:rPr lang="en-GB" smtClean="0"/>
              <a:t>15/07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2E9567-7642-45B0-BD22-6F29C5F6EE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DE5DBE-A475-4429-873F-982298399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B6C9D4-047A-4F60-A22C-1B802AC0B77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7393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0DE76-7887-48A6-96FC-FF285EA89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492C64-C19E-4BE6-88EF-B583886EC0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AFDAC1-D4AB-45DD-8BDD-54C68C6772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B04A29-8E7F-434A-B206-83B0A0F31E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5AF88-56C3-4BB4-8B7D-50D14E6B3E91}" type="datetimeFigureOut">
              <a:rPr lang="en-GB" smtClean="0"/>
              <a:t>15/07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6CE558-859A-445B-BDD3-4321CD59E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A36D60-D54E-463E-99EC-CAD8D7575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B6C9D4-047A-4F60-A22C-1B802AC0B77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4651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CAAF0D-887C-42AD-8843-2DAC37D20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4EA093-7E03-435B-BFB8-A1AA92EC35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B22C90-7487-4FD2-B30E-ADE5BEF11F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E69974-9810-47C0-95BB-1F0D75F3320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6D1DE1-3E07-4AA9-B9B6-85B6A443929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0C4250-24CA-432A-9BAC-4EBDB19C5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5AF88-56C3-4BB4-8B7D-50D14E6B3E91}" type="datetimeFigureOut">
              <a:rPr lang="en-GB" smtClean="0"/>
              <a:t>15/07/2019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D342BFC-CD47-4C2F-AC53-B9F7C077CE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700471-C87F-4DE7-848E-1858BD1A50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B6C9D4-047A-4F60-A22C-1B802AC0B77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22812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586FD6-DE2F-4D08-B903-7AF2ACFDC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252A6C-D1E3-4B1C-B53F-41777074DA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5AF88-56C3-4BB4-8B7D-50D14E6B3E91}" type="datetimeFigureOut">
              <a:rPr lang="en-GB" smtClean="0"/>
              <a:t>15/07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CE8943-4809-453B-974A-4332950B02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FCF7C2-69F2-42BE-9AA9-AC07B2E7DC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B6C9D4-047A-4F60-A22C-1B802AC0B77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246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E84C0CC-A992-4A8A-A470-D7773B50DF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5AF88-56C3-4BB4-8B7D-50D14E6B3E91}" type="datetimeFigureOut">
              <a:rPr lang="en-GB" smtClean="0"/>
              <a:t>15/07/2019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AE90B2-EE68-4ED7-B177-62115ED06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022610-E774-445D-A743-5F599A6DC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B6C9D4-047A-4F60-A22C-1B802AC0B77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49294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DFA79-C967-49E6-9899-E53DF33A3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83F511-D4B1-4E81-8FD6-217FF9C29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650AB0-C255-454B-968F-C19F44CF0A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5240F9-DE83-4732-9267-696F1F287E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5AF88-56C3-4BB4-8B7D-50D14E6B3E91}" type="datetimeFigureOut">
              <a:rPr lang="en-GB" smtClean="0"/>
              <a:t>15/07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30C20D-80A9-432C-9D22-0AF6E1280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D6CB04-355F-494B-9F05-89E14345C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B6C9D4-047A-4F60-A22C-1B802AC0B77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96633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F097C6-9CA5-4D74-914E-D358154DA6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3D0386-15CD-4546-8854-61AF539C878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2B3840-9FA7-4007-944A-3F07208F49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B2F358-4E2F-41F9-A8F2-409E2DF0ED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5AF88-56C3-4BB4-8B7D-50D14E6B3E91}" type="datetimeFigureOut">
              <a:rPr lang="en-GB" smtClean="0"/>
              <a:t>15/07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45C32B-4809-4C7A-AAE7-9F12F7597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510295-C72E-49F5-B0EC-329BAE42D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B6C9D4-047A-4F60-A22C-1B802AC0B77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57496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34D4B4D-8263-4E0C-8C2E-A94A94840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68447D-8133-4412-8180-43A1827CFA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2ECE52-AD64-4832-98E9-18A6118340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45AF88-56C3-4BB4-8B7D-50D14E6B3E91}" type="datetimeFigureOut">
              <a:rPr lang="en-GB" smtClean="0"/>
              <a:t>15/07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E0BD8D-F666-4B87-A1A1-38075A84F5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426D2F-C8F9-494E-B83D-846E7883F9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B6C9D4-047A-4F60-A22C-1B802AC0B77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6161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f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6.xml"/><Relationship Id="rId7" Type="http://schemas.openxmlformats.org/officeDocument/2006/relationships/image" Target="../media/image14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6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26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fif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f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0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0.png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EFDCF91-8371-4406-82E7-E998212FD9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472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EFDCF91-8371-4406-82E7-E998212FD9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2FFFFD57-1F9C-428B-9571-CC5B9AADF52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4320" y="812800"/>
            <a:ext cx="6563359" cy="32816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35615A9-60DA-4301-B197-DEBDB4BD1516}"/>
              </a:ext>
            </a:extLst>
          </p:cNvPr>
          <p:cNvSpPr txBox="1"/>
          <p:nvPr/>
        </p:nvSpPr>
        <p:spPr>
          <a:xfrm>
            <a:off x="3312160" y="4551680"/>
            <a:ext cx="56388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/>
              <a:t>Team Black Homecoming</a:t>
            </a:r>
          </a:p>
          <a:p>
            <a:pPr algn="ctr"/>
            <a:r>
              <a:rPr lang="en-GB" sz="2400" b="1" dirty="0"/>
              <a:t>Econometrics Team Presentation</a:t>
            </a:r>
          </a:p>
          <a:p>
            <a:pPr algn="ctr"/>
            <a:r>
              <a:rPr lang="en-GB" sz="2400" b="1" dirty="0" err="1"/>
              <a:t>OKCupid</a:t>
            </a:r>
            <a:r>
              <a:rPr lang="en-GB" sz="2400" b="1" dirty="0"/>
              <a:t> Public Dataset (2015)</a:t>
            </a:r>
          </a:p>
          <a:p>
            <a:pPr algn="ctr"/>
            <a:endParaRPr lang="en-GB" sz="2400" b="1" dirty="0"/>
          </a:p>
          <a:p>
            <a:pPr algn="ctr"/>
            <a:r>
              <a:rPr lang="en-GB" sz="2400" i="1" dirty="0"/>
              <a:t>15</a:t>
            </a:r>
            <a:r>
              <a:rPr lang="en-GB" sz="2400" i="1" baseline="30000" dirty="0"/>
              <a:t>th</a:t>
            </a:r>
            <a:r>
              <a:rPr lang="en-GB" sz="2400" i="1" dirty="0"/>
              <a:t> July 2019</a:t>
            </a:r>
          </a:p>
        </p:txBody>
      </p:sp>
    </p:spTree>
    <p:extLst>
      <p:ext uri="{BB962C8B-B14F-4D97-AF65-F5344CB8AC3E}">
        <p14:creationId xmlns:p14="http://schemas.microsoft.com/office/powerpoint/2010/main" val="5823248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C8FCBE-9D1A-4EC4-85EA-25BB05A36A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C8FCBE-9D1A-4EC4-85EA-25BB05A36A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DB6906-34DE-4A28-865C-2A28DA28E5C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4EE01D-CD1F-43AA-BFE6-4A854A441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thod – </a:t>
            </a:r>
            <a:r>
              <a:rPr lang="en-GB" i="1" dirty="0"/>
              <a:t>Average User</a:t>
            </a:r>
            <a:r>
              <a:rPr lang="en-GB" dirty="0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01E7B8-2762-4221-8288-9A549FC785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Exploring sexuality vs. gender: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0A4927-5072-4A53-AFDB-18E5CC3207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84731" y="2352427"/>
            <a:ext cx="8419159" cy="4351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7809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C8FCBE-9D1A-4EC4-85EA-25BB05A36A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C8FCBE-9D1A-4EC4-85EA-25BB05A36A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DB6906-34DE-4A28-865C-2A28DA28E5C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4EE01D-CD1F-43AA-BFE6-4A854A441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thod – </a:t>
            </a:r>
            <a:r>
              <a:rPr lang="en-GB" i="1" dirty="0"/>
              <a:t>Average User</a:t>
            </a:r>
            <a:r>
              <a:rPr lang="en-GB" dirty="0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01E7B8-2762-4221-8288-9A549FC785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Exploring age vs. gender: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DB93178-763B-48B1-B0A6-D1A0605232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71879" y="2388264"/>
            <a:ext cx="8648242" cy="4469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8675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C8FCBE-9D1A-4EC4-85EA-25BB05A36A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C8FCBE-9D1A-4EC4-85EA-25BB05A36A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DB6906-34DE-4A28-865C-2A28DA28E5C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4EE01D-CD1F-43AA-BFE6-4A854A441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thod – </a:t>
            </a:r>
            <a:r>
              <a:rPr lang="en-GB" i="1" dirty="0"/>
              <a:t>Average User</a:t>
            </a:r>
            <a:r>
              <a:rPr lang="en-GB" dirty="0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01E7B8-2762-4221-8288-9A549FC785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orrelations between variables: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39818F-82DD-42A2-B79F-005A8B8D5C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6000" y="1210962"/>
            <a:ext cx="5548184" cy="5548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277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752AD4-B6AE-48D8-8597-521DB5883D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752AD4-B6AE-48D8-8597-521DB5883D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244A1B-A8D0-4568-A7A4-35A909A143D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i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078C2B-3497-4C2D-8D32-43051AB8A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thod	 - </a:t>
            </a:r>
            <a:r>
              <a:rPr lang="en-GB" i="1" dirty="0"/>
              <a:t>Swear Words</a:t>
            </a:r>
            <a:r>
              <a:rPr lang="en-GB" dirty="0"/>
              <a:t>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3D7D8F-3804-4F0A-AFA0-1645514704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b="1" dirty="0"/>
              <a:t>Preparing the Dataset</a:t>
            </a:r>
          </a:p>
          <a:p>
            <a:pPr lvl="1"/>
            <a:r>
              <a:rPr lang="en-GB" dirty="0"/>
              <a:t>Split out and count the number of swear words in the ‘essay’ column</a:t>
            </a:r>
          </a:p>
          <a:p>
            <a:pPr lvl="2"/>
            <a:r>
              <a:rPr lang="en-GB" dirty="0"/>
              <a:t>For this we only focused on four swear words (Fu**, Cu**, Bi***, </a:t>
            </a:r>
            <a:r>
              <a:rPr lang="en-GB" dirty="0" err="1"/>
              <a:t>Sh</a:t>
            </a:r>
            <a:r>
              <a:rPr lang="en-GB" dirty="0"/>
              <a:t>**)</a:t>
            </a:r>
          </a:p>
          <a:p>
            <a:pPr lvl="2"/>
            <a:r>
              <a:rPr lang="en-GB" dirty="0"/>
              <a:t>There are 371 instances of swear words across the data set</a:t>
            </a:r>
          </a:p>
          <a:p>
            <a:pPr lvl="1"/>
            <a:r>
              <a:rPr lang="en-GB" dirty="0"/>
              <a:t>Reduce the dataset to a sub-set where count of swear words &gt;0</a:t>
            </a:r>
          </a:p>
          <a:p>
            <a:pPr lvl="2"/>
            <a:r>
              <a:rPr lang="en-GB" dirty="0"/>
              <a:t>There are 350 accounts which feature swearing</a:t>
            </a:r>
          </a:p>
          <a:p>
            <a:pPr lvl="2"/>
            <a:r>
              <a:rPr lang="en-GB" dirty="0"/>
              <a:t>Some accounts contain more than 1 swear word, with a max of 4 recognised words in a single essay of 140 characters</a:t>
            </a:r>
          </a:p>
        </p:txBody>
      </p:sp>
    </p:spTree>
    <p:extLst>
      <p:ext uri="{BB962C8B-B14F-4D97-AF65-F5344CB8AC3E}">
        <p14:creationId xmlns:p14="http://schemas.microsoft.com/office/powerpoint/2010/main" val="1156402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752AD4-B6AE-48D8-8597-521DB5883D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752AD4-B6AE-48D8-8597-521DB5883D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244A1B-A8D0-4568-A7A4-35A909A143D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i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078C2B-3497-4C2D-8D32-43051AB8A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thod	 - </a:t>
            </a:r>
            <a:r>
              <a:rPr lang="en-GB" i="1" dirty="0"/>
              <a:t>Swear Words</a:t>
            </a:r>
            <a:r>
              <a:rPr lang="en-GB" dirty="0"/>
              <a:t>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3D7D8F-3804-4F0A-AFA0-1645514704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b="1" dirty="0"/>
              <a:t>Exploring the dataset</a:t>
            </a:r>
          </a:p>
          <a:p>
            <a:pPr lvl="1"/>
            <a:r>
              <a:rPr lang="en-GB" dirty="0"/>
              <a:t>Plotted each variable against count of swear words to see which variables indicated a pattern (e.g. age, body type)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93A0D97-0D3A-450A-84DF-39419F74902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0227" y="3106711"/>
            <a:ext cx="5510915" cy="375128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183AE55-EDC6-47F0-A697-E7E112F9A3D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6000" y="3106710"/>
            <a:ext cx="5510915" cy="375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2993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C8FCBE-9D1A-4EC4-85EA-25BB05A36A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253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C8FCBE-9D1A-4EC4-85EA-25BB05A36A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DB6906-34DE-4A28-865C-2A28DA28E5C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i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4EE01D-CD1F-43AA-BFE6-4A854A441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thod – </a:t>
            </a:r>
            <a:r>
              <a:rPr lang="en-GB" i="1" dirty="0"/>
              <a:t>Swear Words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A42B4E-B389-4B4E-8EF6-84C6D9498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624"/>
            <a:ext cx="4802436" cy="4773479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GB" b="1" dirty="0"/>
              <a:t>Cleaning the Dataset</a:t>
            </a:r>
          </a:p>
          <a:p>
            <a:pPr marL="0" indent="0">
              <a:buNone/>
            </a:pPr>
            <a:r>
              <a:rPr lang="en-GB" b="1" dirty="0"/>
              <a:t>Missing Values</a:t>
            </a:r>
          </a:p>
          <a:p>
            <a:r>
              <a:rPr lang="en-GB" dirty="0"/>
              <a:t>Removed the rows which didn’t have any data in the ‘essay’ column</a:t>
            </a:r>
          </a:p>
          <a:p>
            <a:r>
              <a:rPr lang="en-GB" dirty="0"/>
              <a:t>Looked at how many observations were missing values for each variable</a:t>
            </a:r>
          </a:p>
          <a:p>
            <a:r>
              <a:rPr lang="en-GB" dirty="0"/>
              <a:t>Removed all the variables with more than 40% missing values – Income, Offspring, Diet</a:t>
            </a:r>
          </a:p>
          <a:p>
            <a:r>
              <a:rPr lang="en-GB" dirty="0"/>
              <a:t>Removed ‘last online’, ‘location’ and ‘status’ as these were either not interesting or too similar to feed into the analysis</a:t>
            </a:r>
          </a:p>
          <a:p>
            <a:endParaRPr lang="en-GB" dirty="0"/>
          </a:p>
        </p:txBody>
      </p:sp>
      <p:pic>
        <p:nvPicPr>
          <p:cNvPr id="6" name="Рисунок 6">
            <a:extLst>
              <a:ext uri="{FF2B5EF4-FFF2-40B4-BE49-F238E27FC236}">
                <a16:creationId xmlns:a16="http://schemas.microsoft.com/office/drawing/2014/main" id="{E7C56990-F4AD-497A-BF2F-062B0D9FD2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40637" y="1825624"/>
            <a:ext cx="5915025" cy="454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0966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eaning Data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ETS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u="sng" dirty="0"/>
              <a:t>Before:</a:t>
            </a:r>
            <a:r>
              <a:rPr lang="en-US" sz="2400" dirty="0"/>
              <a:t> char, 16 unique valu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u="sng" dirty="0"/>
              <a:t>After:</a:t>
            </a:r>
            <a:r>
              <a:rPr lang="en-US" sz="2400" dirty="0"/>
              <a:t> 2 binary variables (dogs, cats)</a:t>
            </a:r>
            <a:endParaRPr lang="en-US" dirty="0"/>
          </a:p>
          <a:p>
            <a:pPr marL="0" indent="0">
              <a:buNone/>
            </a:pPr>
            <a:r>
              <a:rPr lang="en-US" sz="2400" i="1" dirty="0"/>
              <a:t>Assumed that dog/cat owners like them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BODY TYPE</a:t>
            </a:r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u="sng" dirty="0"/>
              <a:t>Before:</a:t>
            </a:r>
            <a:r>
              <a:rPr lang="en-US" sz="2400" dirty="0"/>
              <a:t> char, 13 unique values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u="sng" dirty="0"/>
          </a:p>
          <a:p>
            <a:pPr marL="0" indent="0">
              <a:buNone/>
            </a:pPr>
            <a:r>
              <a:rPr lang="en-US" sz="2400" u="sng" dirty="0"/>
              <a:t>After:</a:t>
            </a:r>
            <a:r>
              <a:rPr lang="en-US" sz="2400" dirty="0"/>
              <a:t> aggregated body types to 7 levels, convert to categorical variable</a:t>
            </a:r>
          </a:p>
          <a:p>
            <a:pPr marL="0" indent="0">
              <a:buNone/>
            </a:pPr>
            <a:endParaRPr lang="en-US" sz="2400" i="1" dirty="0"/>
          </a:p>
          <a:p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/>
          <a:srcRect r="49296"/>
          <a:stretch/>
        </p:blipFill>
        <p:spPr>
          <a:xfrm>
            <a:off x="916500" y="3084325"/>
            <a:ext cx="5162831" cy="71437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/>
          <a:srcRect l="50901"/>
          <a:stretch/>
        </p:blipFill>
        <p:spPr>
          <a:xfrm>
            <a:off x="916500" y="3798700"/>
            <a:ext cx="4999318" cy="71437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/>
          <a:srcRect t="1" r="60364" b="5629"/>
          <a:stretch/>
        </p:blipFill>
        <p:spPr>
          <a:xfrm>
            <a:off x="6253956" y="3447570"/>
            <a:ext cx="3393982" cy="31460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3"/>
          <a:srcRect l="45341" b="1820"/>
          <a:stretch/>
        </p:blipFill>
        <p:spPr>
          <a:xfrm>
            <a:off x="6172200" y="3992233"/>
            <a:ext cx="4680416" cy="327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7848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eaning Data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RINKS, DRUGS, SMOKES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u="sng" dirty="0"/>
              <a:t>Before:</a:t>
            </a:r>
            <a:r>
              <a:rPr lang="en-US" sz="2400" dirty="0"/>
              <a:t> character variables</a:t>
            </a:r>
          </a:p>
          <a:p>
            <a:pPr marL="0" indent="0">
              <a:buNone/>
            </a:pPr>
            <a:r>
              <a:rPr lang="en-US" sz="2400" b="1" dirty="0"/>
              <a:t>Drinks:</a:t>
            </a:r>
            <a:r>
              <a:rPr lang="en-US" sz="2400" dirty="0"/>
              <a:t> not at all, rarely, socially, often, very often, desperately</a:t>
            </a:r>
          </a:p>
          <a:p>
            <a:pPr marL="0" indent="0">
              <a:buNone/>
            </a:pPr>
            <a:r>
              <a:rPr lang="en-US" sz="2400" b="1" dirty="0"/>
              <a:t>Drugs:</a:t>
            </a:r>
            <a:r>
              <a:rPr lang="en-US" sz="2400" dirty="0"/>
              <a:t> never, sometimes, often</a:t>
            </a:r>
            <a:endParaRPr lang="en-US" sz="2000" dirty="0"/>
          </a:p>
          <a:p>
            <a:pPr marL="0" indent="0">
              <a:buNone/>
            </a:pPr>
            <a:r>
              <a:rPr lang="en-US" sz="2400" b="1" dirty="0"/>
              <a:t>Smokes</a:t>
            </a:r>
            <a:r>
              <a:rPr lang="en-US" sz="2400" dirty="0"/>
              <a:t>: multiple option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u="sng" dirty="0"/>
              <a:t>After:</a:t>
            </a:r>
            <a:r>
              <a:rPr lang="en-US" sz="2400" dirty="0"/>
              <a:t> Drugs, drinks – numerical with range, smokes - binary</a:t>
            </a:r>
            <a:endParaRPr lang="en-US" sz="2400" i="1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SPEAKS</a:t>
            </a:r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600" u="sng" dirty="0"/>
              <a:t>Before:</a:t>
            </a:r>
            <a:r>
              <a:rPr lang="en-US" sz="2600" dirty="0"/>
              <a:t> char, 7253 unique values</a:t>
            </a:r>
          </a:p>
          <a:p>
            <a:pPr marL="0" indent="0">
              <a:buNone/>
            </a:pPr>
            <a:endParaRPr lang="en-US" sz="2600" dirty="0"/>
          </a:p>
          <a:p>
            <a:pPr marL="0" indent="0">
              <a:buNone/>
            </a:pPr>
            <a:endParaRPr lang="en-US" sz="2600" dirty="0"/>
          </a:p>
          <a:p>
            <a:pPr marL="0" indent="0">
              <a:buNone/>
            </a:pPr>
            <a:endParaRPr lang="en-US" sz="2600" u="sng" dirty="0"/>
          </a:p>
          <a:p>
            <a:pPr marL="0" indent="0">
              <a:buNone/>
            </a:pPr>
            <a:endParaRPr lang="en-US" sz="2600" u="sng" dirty="0"/>
          </a:p>
          <a:p>
            <a:pPr marL="0" indent="0">
              <a:buNone/>
            </a:pPr>
            <a:r>
              <a:rPr lang="en-US" sz="2600" u="sng" dirty="0"/>
              <a:t>After:</a:t>
            </a:r>
            <a:r>
              <a:rPr lang="en-US" sz="2600" dirty="0"/>
              <a:t> 3 binary variable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200" dirty="0"/>
              <a:t>English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200" dirty="0" err="1"/>
              <a:t>Numer</a:t>
            </a:r>
            <a:r>
              <a:rPr lang="en-US" sz="2200" dirty="0"/>
              <a:t> of languages spoken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200" dirty="0"/>
              <a:t>C++</a:t>
            </a:r>
          </a:p>
          <a:p>
            <a:pPr marL="0" indent="0">
              <a:buNone/>
            </a:pPr>
            <a:endParaRPr lang="en-US" sz="2400" i="1" dirty="0"/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/>
          <a:srcRect r="1059" b="44714"/>
          <a:stretch/>
        </p:blipFill>
        <p:spPr>
          <a:xfrm>
            <a:off x="6281177" y="2893966"/>
            <a:ext cx="4476470" cy="145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9371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eaning Data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DUCATION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400" u="sng" dirty="0"/>
              <a:t>Before:</a:t>
            </a:r>
            <a:r>
              <a:rPr lang="en-US" sz="2400" dirty="0"/>
              <a:t> char, 33 unique valu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u="sng" dirty="0"/>
              <a:t>After:</a:t>
            </a:r>
            <a:r>
              <a:rPr lang="en-US" sz="2400" dirty="0"/>
              <a:t> aggregated to 3 binary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/>
              <a:t>High schoo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/>
              <a:t>Dropped ou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/>
              <a:t>PhD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JOB</a:t>
            </a:r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u="sng" dirty="0"/>
              <a:t>Before:</a:t>
            </a:r>
            <a:r>
              <a:rPr lang="en-US" sz="2400" dirty="0"/>
              <a:t> char, 22 unique values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u="sng" dirty="0"/>
          </a:p>
          <a:p>
            <a:pPr marL="0" indent="0">
              <a:buNone/>
            </a:pPr>
            <a:r>
              <a:rPr lang="en-US" sz="2400" u="sng" dirty="0"/>
              <a:t>After:</a:t>
            </a:r>
            <a:r>
              <a:rPr lang="en-US" sz="2400" dirty="0"/>
              <a:t> aggregated to 3 binary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/>
              <a:t>Studen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/>
              <a:t>Retir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/>
              <a:t>Unemployed</a:t>
            </a:r>
          </a:p>
          <a:p>
            <a:pPr marL="0" indent="0">
              <a:buNone/>
            </a:pPr>
            <a:endParaRPr lang="en-US" sz="2400" i="1" dirty="0"/>
          </a:p>
          <a:p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/>
          <a:srcRect t="1" r="54666" b="1214"/>
          <a:stretch/>
        </p:blipFill>
        <p:spPr>
          <a:xfrm>
            <a:off x="988080" y="3151934"/>
            <a:ext cx="2526086" cy="1025619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/>
          <a:srcRect t="20082"/>
          <a:stretch/>
        </p:blipFill>
        <p:spPr>
          <a:xfrm>
            <a:off x="6270812" y="3008492"/>
            <a:ext cx="2743200" cy="1370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1581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eaning Data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LIGION and SIGN 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u="sng" dirty="0"/>
              <a:t>Before:</a:t>
            </a:r>
            <a:r>
              <a:rPr lang="en-US" sz="2400" dirty="0"/>
              <a:t> 46 and 49 unique valu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sz="2400" u="sng" dirty="0"/>
          </a:p>
          <a:p>
            <a:pPr marL="0" indent="0">
              <a:buNone/>
            </a:pPr>
            <a:r>
              <a:rPr lang="en-US" sz="2400" u="sng" dirty="0"/>
              <a:t>After:</a:t>
            </a:r>
            <a:r>
              <a:rPr lang="en-US" sz="2400" dirty="0"/>
              <a:t> 2 binary variables only for those who are serious about it</a:t>
            </a:r>
            <a:endParaRPr lang="en-US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ETHNICITY</a:t>
            </a:r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u="sng" dirty="0"/>
              <a:t>Before:</a:t>
            </a:r>
            <a:r>
              <a:rPr lang="en-US" sz="2400" dirty="0"/>
              <a:t> char, 206 unique </a:t>
            </a:r>
            <a:r>
              <a:rPr lang="en-US" sz="2400" dirty="0" err="1"/>
              <a:t>vars</a:t>
            </a: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u="sng" dirty="0"/>
          </a:p>
          <a:p>
            <a:pPr marL="0" indent="0">
              <a:buNone/>
            </a:pPr>
            <a:endParaRPr lang="en-US" sz="2400" u="sng" dirty="0"/>
          </a:p>
          <a:p>
            <a:pPr marL="0" indent="0">
              <a:buNone/>
            </a:pPr>
            <a:r>
              <a:rPr lang="en-US" sz="2400" u="sng" dirty="0"/>
              <a:t>After:</a:t>
            </a:r>
            <a:r>
              <a:rPr lang="en-US" sz="2400" dirty="0"/>
              <a:t> dropped from the analysis</a:t>
            </a:r>
          </a:p>
          <a:p>
            <a:pPr marL="0" indent="0">
              <a:buNone/>
            </a:pPr>
            <a:endParaRPr lang="en-US" sz="2400" i="1" dirty="0"/>
          </a:p>
          <a:p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/>
          <a:srcRect r="662" b="5244"/>
          <a:stretch/>
        </p:blipFill>
        <p:spPr>
          <a:xfrm>
            <a:off x="946057" y="3017839"/>
            <a:ext cx="3321144" cy="803274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057" y="3985419"/>
            <a:ext cx="2819400" cy="72390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2200" y="3244382"/>
            <a:ext cx="5857875" cy="94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5685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01236DA-61A6-459E-BE06-619157EBA4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9458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01236DA-61A6-459E-BE06-619157EBA4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9828D51-404B-41CC-8D48-8B46A3ECF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nts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79F240-8CD4-47D7-B386-D90DDCFE7C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Approach</a:t>
            </a:r>
          </a:p>
          <a:p>
            <a:pPr lvl="1"/>
            <a:r>
              <a:rPr lang="en-GB" dirty="0"/>
              <a:t>Dataset</a:t>
            </a:r>
          </a:p>
          <a:p>
            <a:pPr lvl="1"/>
            <a:r>
              <a:rPr lang="en-GB" dirty="0"/>
              <a:t>Aims</a:t>
            </a:r>
          </a:p>
          <a:p>
            <a:pPr lvl="1"/>
            <a:r>
              <a:rPr lang="en-GB" dirty="0"/>
              <a:t>Method</a:t>
            </a:r>
          </a:p>
          <a:p>
            <a:r>
              <a:rPr lang="en-GB" dirty="0"/>
              <a:t>Results</a:t>
            </a:r>
          </a:p>
          <a:p>
            <a:pPr lvl="1"/>
            <a:r>
              <a:rPr lang="en-GB" dirty="0"/>
              <a:t>Average user</a:t>
            </a:r>
          </a:p>
          <a:p>
            <a:pPr lvl="1"/>
            <a:r>
              <a:rPr lang="en-GB" dirty="0"/>
              <a:t>Most-likely to swear</a:t>
            </a:r>
          </a:p>
          <a:p>
            <a:r>
              <a:rPr lang="en-GB" dirty="0"/>
              <a:t>Next steps / improveme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E9DEA00-4AD1-4148-B2EA-9909AA01BE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2864" y="1863811"/>
            <a:ext cx="3130378" cy="3130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3501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Dataset</a:t>
            </a:r>
            <a:endParaRPr lang="ru-RU" dirty="0"/>
          </a:p>
        </p:txBody>
      </p:sp>
      <p:pic>
        <p:nvPicPr>
          <p:cNvPr id="7" name="Объект 6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b="1332"/>
          <a:stretch/>
        </p:blipFill>
        <p:spPr>
          <a:xfrm>
            <a:off x="931488" y="1598753"/>
            <a:ext cx="5667375" cy="4210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9547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752AD4-B6AE-48D8-8597-521DB5883D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752AD4-B6AE-48D8-8597-521DB5883D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244A1B-A8D0-4568-A7A4-35A909A143D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i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078C2B-3497-4C2D-8D32-43051AB8A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thod	 - </a:t>
            </a:r>
            <a:r>
              <a:rPr lang="en-GB" i="1" dirty="0"/>
              <a:t>Swear Words</a:t>
            </a:r>
            <a:r>
              <a:rPr lang="en-GB" dirty="0"/>
              <a:t>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3D7D8F-3804-4F0A-AFA0-1645514704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b="1" dirty="0"/>
              <a:t>Identifying a Regression Model</a:t>
            </a:r>
          </a:p>
          <a:p>
            <a:r>
              <a:rPr lang="en-GB" dirty="0"/>
              <a:t>Initially looked at a model including all variables and feeding this into the Step() function</a:t>
            </a:r>
          </a:p>
          <a:p>
            <a:r>
              <a:rPr lang="en-GB" dirty="0"/>
              <a:t>R-squared for the Step() is very low (0.0058) ~ regression model not a good fit for the data</a:t>
            </a:r>
          </a:p>
          <a:p>
            <a:r>
              <a:rPr lang="en-GB" dirty="0"/>
              <a:t>However the step model did identify significant factors: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20039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752AD4-B6AE-48D8-8597-521DB5883D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752AD4-B6AE-48D8-8597-521DB5883D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244A1B-A8D0-4568-A7A4-35A909A143D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i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078C2B-3497-4C2D-8D32-43051AB8A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thod	 - </a:t>
            </a:r>
            <a:r>
              <a:rPr lang="en-GB" i="1" dirty="0"/>
              <a:t>Swear Words</a:t>
            </a:r>
            <a:r>
              <a:rPr lang="en-GB" dirty="0"/>
              <a:t>	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4D0C63-EA0E-403F-97C6-FEA60AF31D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47441" y="1531460"/>
            <a:ext cx="7238081" cy="4961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511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752AD4-B6AE-48D8-8597-521DB5883D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6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752AD4-B6AE-48D8-8597-521DB5883D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244A1B-A8D0-4568-A7A4-35A909A143D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078C2B-3497-4C2D-8D32-43051AB8A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thod	 - </a:t>
            </a:r>
            <a:r>
              <a:rPr lang="en-GB" i="1" dirty="0"/>
              <a:t>Finding clusters in the data</a:t>
            </a:r>
            <a:r>
              <a:rPr lang="en-GB" dirty="0"/>
              <a:t> 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3D7D8F-3804-4F0A-AFA0-1645514704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b="1" dirty="0"/>
              <a:t>Supervised clustering</a:t>
            </a:r>
          </a:p>
          <a:p>
            <a:r>
              <a:rPr lang="en-GB" dirty="0"/>
              <a:t>Four different types of supervised clustering were attempted</a:t>
            </a:r>
          </a:p>
          <a:p>
            <a:r>
              <a:rPr lang="en-GB" dirty="0"/>
              <a:t>Attempted to cluster by swear words(binary), orientation, unemployment, but these didn’t produce any viable results</a:t>
            </a:r>
          </a:p>
          <a:p>
            <a:r>
              <a:rPr lang="en-GB" dirty="0"/>
              <a:t>Clustering by gender produced more meaningful results:</a:t>
            </a:r>
          </a:p>
          <a:p>
            <a:pPr lvl="1"/>
            <a:r>
              <a:rPr lang="en-GB" dirty="0"/>
              <a:t>Ran on a smaller dataset due to size of the dataset crashing the laptop</a:t>
            </a:r>
          </a:p>
          <a:p>
            <a:pPr lvl="1"/>
            <a:r>
              <a:rPr lang="en-GB" dirty="0"/>
              <a:t>Used Caret to reduce the dataset</a:t>
            </a:r>
          </a:p>
          <a:p>
            <a:pPr lvl="1"/>
            <a:r>
              <a:rPr lang="en-GB" dirty="0"/>
              <a:t>Whilst we obtained better results for these samples, the k-means method is still not accurately predicting males</a:t>
            </a:r>
          </a:p>
          <a:p>
            <a:pPr marL="457200" lvl="1" indent="0">
              <a:buNone/>
            </a:pPr>
            <a:endParaRPr lang="en-GB" dirty="0"/>
          </a:p>
          <a:p>
            <a:pPr lvl="1"/>
            <a:endParaRPr lang="en-GB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2C80DAD-ABBA-46C1-AFC9-0F70444DFA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1664673"/>
              </p:ext>
            </p:extLst>
          </p:nvPr>
        </p:nvGraphicFramePr>
        <p:xfrm>
          <a:off x="4291682" y="5628323"/>
          <a:ext cx="3057792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19264">
                  <a:extLst>
                    <a:ext uri="{9D8B030D-6E8A-4147-A177-3AD203B41FA5}">
                      <a16:colId xmlns:a16="http://schemas.microsoft.com/office/drawing/2014/main" val="172078852"/>
                    </a:ext>
                  </a:extLst>
                </a:gridCol>
                <a:gridCol w="1019264">
                  <a:extLst>
                    <a:ext uri="{9D8B030D-6E8A-4147-A177-3AD203B41FA5}">
                      <a16:colId xmlns:a16="http://schemas.microsoft.com/office/drawing/2014/main" val="2642574040"/>
                    </a:ext>
                  </a:extLst>
                </a:gridCol>
                <a:gridCol w="1019264">
                  <a:extLst>
                    <a:ext uri="{9D8B030D-6E8A-4147-A177-3AD203B41FA5}">
                      <a16:colId xmlns:a16="http://schemas.microsoft.com/office/drawing/2014/main" val="55026942"/>
                    </a:ext>
                  </a:extLst>
                </a:gridCol>
              </a:tblGrid>
              <a:tr h="239827"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480718"/>
                  </a:ext>
                </a:extLst>
              </a:tr>
              <a:tr h="239827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9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09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4671658"/>
                  </a:ext>
                </a:extLst>
              </a:tr>
              <a:tr h="239827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M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46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36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79234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34209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141FA2-1F8B-483F-90E8-0D7C81A951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6167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141FA2-1F8B-483F-90E8-0D7C81A951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914F201-1CBF-4364-B419-678F4576122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i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A73386-665A-439B-BF28-9D6C85FF3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ults – </a:t>
            </a:r>
            <a:r>
              <a:rPr lang="en-GB" i="1" dirty="0"/>
              <a:t>Average User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AC9863-765E-45A9-845C-3AC533DA41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667250"/>
          </a:xfrm>
        </p:spPr>
        <p:txBody>
          <a:bodyPr>
            <a:normAutofit fontScale="77500" lnSpcReduction="20000"/>
          </a:bodyPr>
          <a:lstStyle/>
          <a:p>
            <a:r>
              <a:rPr lang="en-GB" dirty="0"/>
              <a:t>More male than female</a:t>
            </a:r>
          </a:p>
          <a:p>
            <a:r>
              <a:rPr lang="en-GB" dirty="0"/>
              <a:t>Most likely straight</a:t>
            </a:r>
          </a:p>
          <a:p>
            <a:r>
              <a:rPr lang="en-GB" dirty="0"/>
              <a:t>Most likely in late twenties to early thirties</a:t>
            </a:r>
          </a:p>
          <a:p>
            <a:r>
              <a:rPr lang="en-GB" dirty="0"/>
              <a:t>Most likely white ethnicity</a:t>
            </a:r>
          </a:p>
          <a:p>
            <a:r>
              <a:rPr lang="en-GB" dirty="0"/>
              <a:t>Around 1.77m height</a:t>
            </a:r>
          </a:p>
          <a:p>
            <a:r>
              <a:rPr lang="en-GB" dirty="0"/>
              <a:t>Most likely does not take drugs</a:t>
            </a:r>
          </a:p>
          <a:p>
            <a:r>
              <a:rPr lang="en-GB" dirty="0"/>
              <a:t>Most likely does drink socially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Interesting points:</a:t>
            </a:r>
          </a:p>
          <a:p>
            <a:r>
              <a:rPr lang="en-GB" dirty="0"/>
              <a:t>Drug taking increases as drinking increases</a:t>
            </a:r>
          </a:p>
          <a:p>
            <a:r>
              <a:rPr lang="en-GB" dirty="0"/>
              <a:t>Very small number of men identifying as bi-sexual compared to women</a:t>
            </a:r>
          </a:p>
          <a:p>
            <a:r>
              <a:rPr lang="en-GB" dirty="0"/>
              <a:t>After 60 years old, the number of women on OK Cupid surpasses the number of men</a:t>
            </a:r>
          </a:p>
        </p:txBody>
      </p:sp>
    </p:spTree>
    <p:extLst>
      <p:ext uri="{BB962C8B-B14F-4D97-AF65-F5344CB8AC3E}">
        <p14:creationId xmlns:p14="http://schemas.microsoft.com/office/powerpoint/2010/main" val="42740650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141FA2-1F8B-483F-90E8-0D7C81A951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6910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141FA2-1F8B-483F-90E8-0D7C81A951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914F201-1CBF-4364-B419-678F4576122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i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A73386-665A-439B-BF28-9D6C85FF3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ults </a:t>
            </a:r>
            <a:r>
              <a:rPr lang="en-GB" i="1" dirty="0"/>
              <a:t>– Clustering &amp; Swear Words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AC9863-765E-45A9-845C-3AC533DA41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b="1" dirty="0"/>
              <a:t>Clustering</a:t>
            </a:r>
          </a:p>
          <a:p>
            <a:r>
              <a:rPr lang="en-GB" dirty="0"/>
              <a:t>Clustering method gave limited results. K-means was not successful at finding clusters for swear words(binary), orientation, unemployment. </a:t>
            </a:r>
          </a:p>
          <a:p>
            <a:r>
              <a:rPr lang="en-GB" dirty="0"/>
              <a:t>Clustering by gender produced improved but limited results</a:t>
            </a:r>
          </a:p>
          <a:p>
            <a:pPr marL="0" indent="0">
              <a:buNone/>
            </a:pPr>
            <a:r>
              <a:rPr lang="en-GB" b="1" dirty="0"/>
              <a:t>Swear Words</a:t>
            </a:r>
          </a:p>
          <a:p>
            <a:r>
              <a:rPr lang="en-GB" dirty="0"/>
              <a:t>Regression model is not a good fit for the data </a:t>
            </a:r>
          </a:p>
          <a:p>
            <a:r>
              <a:rPr lang="en-GB" dirty="0"/>
              <a:t>Step() model did identify factors which are more significant than others include age, drugs, star sign and smoking.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2108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5E76EC-0958-4E78-9128-C10775128C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7597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5E76EC-0958-4E78-9128-C10775128C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1DA2E58-0938-41A5-8C01-B01CA9481E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4A1F01-DFA9-472E-8859-BB6A8D8992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resting things/ things to explore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E234BA-D3DF-4010-9C71-B90A6FF23B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Height has a closer correlation to income than age ~ needs more investigation to verify this</a:t>
            </a:r>
          </a:p>
          <a:p>
            <a:r>
              <a:rPr lang="en-GB" dirty="0"/>
              <a:t>User age has a second peak around mid-40s for both male and female ~ is there a way we can analyse this subgroup’s essays to understand their motivations for using the service?</a:t>
            </a:r>
          </a:p>
          <a:p>
            <a:r>
              <a:rPr lang="en-GB" dirty="0"/>
              <a:t>If we had more than 140 characters of the essay, would we find any more instances of swearing?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83063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DB39CC8-3BD8-4530-AF99-2748F031A2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DB39CC8-3BD8-4530-AF99-2748F031A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764A4C5-573F-48C3-9E9E-645399BD64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3CDCF8-3010-4022-8795-9AF7BCFCD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ataset – </a:t>
            </a:r>
            <a:r>
              <a:rPr lang="en-GB" dirty="0" err="1"/>
              <a:t>OKCupid</a:t>
            </a:r>
            <a:r>
              <a:rPr lang="en-GB" dirty="0"/>
              <a:t> Profi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E1E2A5F-4C73-4EDF-9E36-8C2EACE4F49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4078" y="1399975"/>
            <a:ext cx="8963843" cy="5127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9227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DB39CC8-3BD8-4530-AF99-2748F031A2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5675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DB39CC8-3BD8-4530-AF99-2748F031A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764A4C5-573F-48C3-9E9E-645399BD64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3CDCF8-3010-4022-8795-9AF7BCFCD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ataset – </a:t>
            </a:r>
            <a:r>
              <a:rPr lang="en-GB" dirty="0" err="1"/>
              <a:t>OKCupid</a:t>
            </a:r>
            <a:r>
              <a:rPr lang="en-GB" dirty="0"/>
              <a:t> Profi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5E39F4-E982-4780-A69C-0677957C0971}"/>
              </a:ext>
            </a:extLst>
          </p:cNvPr>
          <p:cNvSpPr txBox="1"/>
          <p:nvPr/>
        </p:nvSpPr>
        <p:spPr>
          <a:xfrm>
            <a:off x="838200" y="2103016"/>
            <a:ext cx="10790280" cy="3160962"/>
          </a:xfrm>
          <a:prstGeom prst="rect">
            <a:avLst/>
          </a:prstGeom>
          <a:noFill/>
        </p:spPr>
        <p:txBody>
          <a:bodyPr wrap="square" numCol="3" rtlCol="0">
            <a:noAutofit/>
          </a:bodyPr>
          <a:lstStyle/>
          <a:p>
            <a:r>
              <a:rPr lang="en-GB" sz="2000" dirty="0"/>
              <a:t>Variabl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Age (int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Body type (categorical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Diet (categorical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Drinks (categorical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Drugs (categorical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Education (categorical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Ethnicity (multiple categorical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Height (int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Income (int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Job (multiple categorical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Location (multiple categorical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Offspring (multiple categorical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Orientation (categorical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Pets (multiple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Religion (multiple categorical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Sex (categorical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Smokes (categorical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Status (categorical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Speaks [language] (multiple categorical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Ethnicity (multiple categorical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Sign [Star Sign] (multiple categorical variab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Essay (string) [only first 140 characters]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53EB8F-9184-473B-A153-FD5E5EC1A684}"/>
              </a:ext>
            </a:extLst>
          </p:cNvPr>
          <p:cNvSpPr txBox="1"/>
          <p:nvPr/>
        </p:nvSpPr>
        <p:spPr>
          <a:xfrm>
            <a:off x="838200" y="1594022"/>
            <a:ext cx="49303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59946 observations of 22 variables</a:t>
            </a:r>
          </a:p>
        </p:txBody>
      </p:sp>
    </p:spTree>
    <p:extLst>
      <p:ext uri="{BB962C8B-B14F-4D97-AF65-F5344CB8AC3E}">
        <p14:creationId xmlns:p14="http://schemas.microsoft.com/office/powerpoint/2010/main" val="226396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FD9A0F-FEEE-4EE4-B18F-D4883F65C0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224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FD9A0F-FEEE-4EE4-B18F-D4883F65C0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BA9510-8F1E-4EA6-91CA-EDEAF8C87D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i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966D45-5E52-4A2F-9D15-79EBD3AB38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17596"/>
            <a:ext cx="10515600" cy="2622807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endParaRPr lang="en-GB" dirty="0"/>
          </a:p>
          <a:p>
            <a:pPr marL="0" indent="0" algn="ctr">
              <a:buNone/>
            </a:pPr>
            <a:r>
              <a:rPr lang="en-GB" i="1" dirty="0"/>
              <a:t>What are the most common traits of an </a:t>
            </a:r>
            <a:r>
              <a:rPr lang="en-GB" i="1" dirty="0" err="1"/>
              <a:t>OKCupid</a:t>
            </a:r>
            <a:r>
              <a:rPr lang="en-GB" i="1" dirty="0"/>
              <a:t> user?</a:t>
            </a:r>
          </a:p>
          <a:p>
            <a:pPr marL="0" indent="0" algn="ctr">
              <a:buNone/>
            </a:pPr>
            <a:endParaRPr lang="en-GB" i="1" dirty="0"/>
          </a:p>
          <a:p>
            <a:pPr marL="0" indent="0" algn="ctr">
              <a:buNone/>
            </a:pPr>
            <a:r>
              <a:rPr lang="en-GB" i="1" dirty="0"/>
              <a:t>Which type of users are most likely to use swear words in their profile ‘</a:t>
            </a:r>
            <a:r>
              <a:rPr lang="en-GB" i="1"/>
              <a:t>essay’?</a:t>
            </a:r>
          </a:p>
          <a:p>
            <a:pPr marL="0" indent="0" algn="ctr">
              <a:buNone/>
            </a:pPr>
            <a:endParaRPr lang="en-GB" i="1" dirty="0"/>
          </a:p>
          <a:p>
            <a:pPr marL="0" indent="0" algn="ctr">
              <a:buNone/>
            </a:pPr>
            <a:r>
              <a:rPr lang="en-GB" i="1" dirty="0"/>
              <a:t>Are there any clusters in the data?</a:t>
            </a:r>
          </a:p>
          <a:p>
            <a:pPr marL="0" indent="0" algn="ctr">
              <a:buNone/>
            </a:pPr>
            <a:endParaRPr lang="en-GB" i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8D46244-A927-4F27-84BE-E796D10A12A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3981" y="95218"/>
            <a:ext cx="2512058" cy="251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5901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C8FCBE-9D1A-4EC4-85EA-25BB05A36A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C8FCBE-9D1A-4EC4-85EA-25BB05A36A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DB6906-34DE-4A28-865C-2A28DA28E5C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4EE01D-CD1F-43AA-BFE6-4A854A441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thod – </a:t>
            </a:r>
            <a:r>
              <a:rPr lang="en-GB" i="1" dirty="0"/>
              <a:t>Average User</a:t>
            </a:r>
            <a:r>
              <a:rPr lang="en-GB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A42B4E-B389-4B4E-8EF6-84C6D9498E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/>
              <a:t>Looked at structure &amp; summary</a:t>
            </a:r>
          </a:p>
          <a:p>
            <a:r>
              <a:rPr lang="en-GB" dirty="0"/>
              <a:t>Explored individual variables &amp; their relation to one another: </a:t>
            </a:r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C405A3-FFF4-41B4-9408-4F74B2B1DF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200" y="3122272"/>
            <a:ext cx="4487562" cy="305469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F953909-D568-4FA1-B34D-3A80A6E4789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38196" y="2959757"/>
            <a:ext cx="4924539" cy="3352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2983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C8FCBE-9D1A-4EC4-85EA-25BB05A36A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C8FCBE-9D1A-4EC4-85EA-25BB05A36A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DB6906-34DE-4A28-865C-2A28DA28E5C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4EE01D-CD1F-43AA-BFE6-4A854A441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thod – </a:t>
            </a:r>
            <a:r>
              <a:rPr lang="en-GB" i="1" dirty="0"/>
              <a:t>Average User</a:t>
            </a:r>
            <a:r>
              <a:rPr lang="en-GB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A42B4E-B389-4B4E-8EF6-84C6D9498E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/>
              <a:t>Split the data into categorical &amp; numerical data. </a:t>
            </a:r>
          </a:p>
          <a:p>
            <a:r>
              <a:rPr lang="en-GB" dirty="0"/>
              <a:t>Removed NA’s – more accurate to remove than to use median or guess a categorical answer. Given the size of the dataset the analysis would not be affected by this action</a:t>
            </a:r>
          </a:p>
          <a:p>
            <a:r>
              <a:rPr lang="en-GB" dirty="0"/>
              <a:t>Ran PCA of the numerical values:</a:t>
            </a:r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EC33F65-A7A0-4A82-9BC7-FD85D2FA07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17497" y="4042002"/>
            <a:ext cx="7929691" cy="2611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8098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C8FCBE-9D1A-4EC4-85EA-25BB05A36A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C8FCBE-9D1A-4EC4-85EA-25BB05A36A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DB6906-34DE-4A28-865C-2A28DA28E5C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4EE01D-CD1F-43AA-BFE6-4A854A441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thod – </a:t>
            </a:r>
            <a:r>
              <a:rPr lang="en-GB" i="1" dirty="0"/>
              <a:t>Average User</a:t>
            </a:r>
            <a:r>
              <a:rPr lang="en-GB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A42B4E-B389-4B4E-8EF6-84C6D9498E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/>
              <a:t>MCA analysis for the categorical values (using Cleaned Data):</a:t>
            </a:r>
          </a:p>
          <a:p>
            <a:pPr marL="0" indent="0">
              <a:buNone/>
            </a:pPr>
            <a:endParaRPr lang="en-GB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0237AE1-4EB6-4878-909C-032F86EE5C55}"/>
              </a:ext>
            </a:extLst>
          </p:cNvPr>
          <p:cNvGrpSpPr/>
          <p:nvPr/>
        </p:nvGrpSpPr>
        <p:grpSpPr>
          <a:xfrm>
            <a:off x="208006" y="2730843"/>
            <a:ext cx="11815118" cy="3237470"/>
            <a:chOff x="208006" y="3182403"/>
            <a:chExt cx="12341648" cy="278591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5B11DC3-1E68-4B29-81A8-957C7844F6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52379"/>
            <a:stretch/>
          </p:blipFill>
          <p:spPr>
            <a:xfrm>
              <a:off x="208006" y="3182403"/>
              <a:ext cx="8594276" cy="278591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B8FD2AB-95BB-4E9A-AA85-B48F1FFECF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48236" b="50000"/>
            <a:stretch/>
          </p:blipFill>
          <p:spPr>
            <a:xfrm>
              <a:off x="8802282" y="3343394"/>
              <a:ext cx="3747372" cy="24639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990389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C8FCBE-9D1A-4EC4-85EA-25BB05A36A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C8FCBE-9D1A-4EC4-85EA-25BB05A36A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DB6906-34DE-4A28-865C-2A28DA28E5C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4EE01D-CD1F-43AA-BFE6-4A854A441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thod – </a:t>
            </a:r>
            <a:r>
              <a:rPr lang="en-GB" i="1" dirty="0"/>
              <a:t>Average User</a:t>
            </a:r>
            <a:r>
              <a:rPr lang="en-GB" dirty="0"/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CA00CB1-1826-465A-AD5B-DAAABB83EC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86291" y="1263028"/>
            <a:ext cx="8219418" cy="5594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4945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zZtCZiQ6Kq1AalFokCN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zZtCZiQ6Kq1AalFokC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zZtCZiQ6Kq1AalFokC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zZtCZiQ6Kq1AalFokC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zZtCZiQ6Kq1AalFokC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zZtCZiQ6Kq1AalFokCN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zZtCZiQ6Kq1AalFokC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sGCIRvQ2OFe5khPQGS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sGCIRvQ2OFe5khPQGS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zZtCZiQ6Kq1AalFokC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sGCIRvQ2OFe5khPQGSr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sGCIRvQ2OFe5khPQGSr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sGCIRvQ2OFe5khPQGSr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fLkmeWRj20F8ZPPvIB4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fLkmeWRj20F8ZPPvIB4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4KKhYiSqS1fqr5n42j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.xrwaeRtK2NzDcc.jJ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.xrwaeRtK2NzDcc.jJ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9</TotalTime>
  <Words>1088</Words>
  <Application>Microsoft Office PowerPoint</Application>
  <PresentationFormat>Widescreen</PresentationFormat>
  <Paragraphs>198</Paragraphs>
  <Slides>2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2" baseType="lpstr">
      <vt:lpstr>Arial</vt:lpstr>
      <vt:lpstr>Calibri</vt:lpstr>
      <vt:lpstr>Calibri Light</vt:lpstr>
      <vt:lpstr>Wingdings</vt:lpstr>
      <vt:lpstr>Office Theme</vt:lpstr>
      <vt:lpstr>think-cell Slide</vt:lpstr>
      <vt:lpstr>PowerPoint Presentation</vt:lpstr>
      <vt:lpstr>Contents </vt:lpstr>
      <vt:lpstr>Dataset – OKCupid Profiles</vt:lpstr>
      <vt:lpstr>Dataset – OKCupid Profiles</vt:lpstr>
      <vt:lpstr>Aims</vt:lpstr>
      <vt:lpstr>Method – Average User </vt:lpstr>
      <vt:lpstr>Method – Average User </vt:lpstr>
      <vt:lpstr>Method – Average User </vt:lpstr>
      <vt:lpstr>Method – Average User </vt:lpstr>
      <vt:lpstr>Method – Average User </vt:lpstr>
      <vt:lpstr>Method – Average User </vt:lpstr>
      <vt:lpstr>Method – Average User </vt:lpstr>
      <vt:lpstr>Method  - Swear Words </vt:lpstr>
      <vt:lpstr>Method  - Swear Words </vt:lpstr>
      <vt:lpstr>Method – Swear Words</vt:lpstr>
      <vt:lpstr>Cleaning Data</vt:lpstr>
      <vt:lpstr>Cleaning Data</vt:lpstr>
      <vt:lpstr>Cleaning Data</vt:lpstr>
      <vt:lpstr>Cleaning Data</vt:lpstr>
      <vt:lpstr>Final Dataset</vt:lpstr>
      <vt:lpstr>Method  - Swear Words </vt:lpstr>
      <vt:lpstr>Method  - Swear Words </vt:lpstr>
      <vt:lpstr>Method  - Finding clusters in the data  </vt:lpstr>
      <vt:lpstr>Results – Average User</vt:lpstr>
      <vt:lpstr>Results – Clustering &amp; Swear Words</vt:lpstr>
      <vt:lpstr>Interesting things/ things to explor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pinall, Charlotte I.</dc:creator>
  <cp:lastModifiedBy>Aspinall, Charlotte I.</cp:lastModifiedBy>
  <cp:revision>7</cp:revision>
  <dcterms:created xsi:type="dcterms:W3CDTF">2019-07-12T09:26:05Z</dcterms:created>
  <dcterms:modified xsi:type="dcterms:W3CDTF">2019-07-15T11:46:31Z</dcterms:modified>
</cp:coreProperties>
</file>